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4"/>
  </p:sldMasterIdLst>
  <p:notesMasterIdLst>
    <p:notesMasterId r:id="rId29"/>
  </p:notesMasterIdLst>
  <p:sldIdLst>
    <p:sldId id="257" r:id="rId5"/>
    <p:sldId id="813" r:id="rId6"/>
    <p:sldId id="793" r:id="rId7"/>
    <p:sldId id="268" r:id="rId8"/>
    <p:sldId id="269" r:id="rId9"/>
    <p:sldId id="277" r:id="rId10"/>
    <p:sldId id="278" r:id="rId11"/>
    <p:sldId id="270" r:id="rId12"/>
    <p:sldId id="271" r:id="rId13"/>
    <p:sldId id="816" r:id="rId14"/>
    <p:sldId id="264" r:id="rId15"/>
    <p:sldId id="265" r:id="rId16"/>
    <p:sldId id="258" r:id="rId17"/>
    <p:sldId id="259" r:id="rId18"/>
    <p:sldId id="260" r:id="rId19"/>
    <p:sldId id="261" r:id="rId20"/>
    <p:sldId id="262" r:id="rId21"/>
    <p:sldId id="279" r:id="rId22"/>
    <p:sldId id="814" r:id="rId23"/>
    <p:sldId id="714" r:id="rId24"/>
    <p:sldId id="274" r:id="rId25"/>
    <p:sldId id="273" r:id="rId26"/>
    <p:sldId id="815" r:id="rId27"/>
    <p:sldId id="266" r:id="rId28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808265-950B-4DCF-BEDE-59A503CFA654}" v="123" dt="2024-02-06T15:13:10.8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7" d="100"/>
          <a:sy n="67" d="100"/>
        </p:scale>
        <p:origin x="60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phen Bridgman" userId="86e9c7dd-7b77-4652-8027-5efef0dd1d90" providerId="ADAL" clId="{ADE6F744-6975-46A9-9603-B1DD6EB09953}"/>
    <pc:docChg chg="custSel delSld modSld">
      <pc:chgData name="Stephen Bridgman" userId="86e9c7dd-7b77-4652-8027-5efef0dd1d90" providerId="ADAL" clId="{ADE6F744-6975-46A9-9603-B1DD6EB09953}" dt="2023-06-05T09:26:44.803" v="141" actId="6549"/>
      <pc:docMkLst>
        <pc:docMk/>
      </pc:docMkLst>
      <pc:sldChg chg="modSp mod">
        <pc:chgData name="Stephen Bridgman" userId="86e9c7dd-7b77-4652-8027-5efef0dd1d90" providerId="ADAL" clId="{ADE6F744-6975-46A9-9603-B1DD6EB09953}" dt="2023-06-02T12:20:10.915" v="116" actId="20577"/>
        <pc:sldMkLst>
          <pc:docMk/>
          <pc:sldMk cId="1058048612" sldId="257"/>
        </pc:sldMkLst>
        <pc:spChg chg="mod">
          <ac:chgData name="Stephen Bridgman" userId="86e9c7dd-7b77-4652-8027-5efef0dd1d90" providerId="ADAL" clId="{ADE6F744-6975-46A9-9603-B1DD6EB09953}" dt="2023-06-02T12:20:10.915" v="116" actId="20577"/>
          <ac:spMkLst>
            <pc:docMk/>
            <pc:sldMk cId="1058048612" sldId="257"/>
            <ac:spMk id="3" creationId="{00000000-0000-0000-0000-000000000000}"/>
          </ac:spMkLst>
        </pc:spChg>
      </pc:sldChg>
      <pc:sldChg chg="del">
        <pc:chgData name="Stephen Bridgman" userId="86e9c7dd-7b77-4652-8027-5efef0dd1d90" providerId="ADAL" clId="{ADE6F744-6975-46A9-9603-B1DD6EB09953}" dt="2023-06-02T13:07:43.691" v="117" actId="47"/>
        <pc:sldMkLst>
          <pc:docMk/>
          <pc:sldMk cId="759300550" sldId="260"/>
        </pc:sldMkLst>
      </pc:sldChg>
      <pc:sldChg chg="del">
        <pc:chgData name="Stephen Bridgman" userId="86e9c7dd-7b77-4652-8027-5efef0dd1d90" providerId="ADAL" clId="{ADE6F744-6975-46A9-9603-B1DD6EB09953}" dt="2023-06-02T13:07:44.986" v="118" actId="47"/>
        <pc:sldMkLst>
          <pc:docMk/>
          <pc:sldMk cId="2573505971" sldId="261"/>
        </pc:sldMkLst>
      </pc:sldChg>
      <pc:sldChg chg="del">
        <pc:chgData name="Stephen Bridgman" userId="86e9c7dd-7b77-4652-8027-5efef0dd1d90" providerId="ADAL" clId="{ADE6F744-6975-46A9-9603-B1DD6EB09953}" dt="2023-06-02T13:07:48.657" v="119" actId="47"/>
        <pc:sldMkLst>
          <pc:docMk/>
          <pc:sldMk cId="1574208493" sldId="262"/>
        </pc:sldMkLst>
      </pc:sldChg>
      <pc:sldChg chg="modSp mod">
        <pc:chgData name="Stephen Bridgman" userId="86e9c7dd-7b77-4652-8027-5efef0dd1d90" providerId="ADAL" clId="{ADE6F744-6975-46A9-9603-B1DD6EB09953}" dt="2023-06-05T09:26:44.803" v="141" actId="6549"/>
        <pc:sldMkLst>
          <pc:docMk/>
          <pc:sldMk cId="3715976548" sldId="265"/>
        </pc:sldMkLst>
        <pc:spChg chg="mod">
          <ac:chgData name="Stephen Bridgman" userId="86e9c7dd-7b77-4652-8027-5efef0dd1d90" providerId="ADAL" clId="{ADE6F744-6975-46A9-9603-B1DD6EB09953}" dt="2023-06-05T09:26:44.803" v="141" actId="6549"/>
          <ac:spMkLst>
            <pc:docMk/>
            <pc:sldMk cId="3715976548" sldId="265"/>
            <ac:spMk id="6" creationId="{34365300-FEDE-8C4D-43B3-4C0DCBB814B9}"/>
          </ac:spMkLst>
        </pc:spChg>
      </pc:sldChg>
    </pc:docChg>
  </pc:docChgLst>
  <pc:docChgLst>
    <pc:chgData name="Stephen Bridgman" userId="86e9c7dd-7b77-4652-8027-5efef0dd1d90" providerId="ADAL" clId="{C90665FD-D872-45BF-8363-8CE5CB628A7A}"/>
    <pc:docChg chg="undo custSel addSld delSld modSld">
      <pc:chgData name="Stephen Bridgman" userId="86e9c7dd-7b77-4652-8027-5efef0dd1d90" providerId="ADAL" clId="{C90665FD-D872-45BF-8363-8CE5CB628A7A}" dt="2023-06-02T10:20:35.543" v="28" actId="47"/>
      <pc:docMkLst>
        <pc:docMk/>
      </pc:docMkLst>
      <pc:sldChg chg="del">
        <pc:chgData name="Stephen Bridgman" userId="86e9c7dd-7b77-4652-8027-5efef0dd1d90" providerId="ADAL" clId="{C90665FD-D872-45BF-8363-8CE5CB628A7A}" dt="2023-06-02T10:20:35.543" v="28" actId="47"/>
        <pc:sldMkLst>
          <pc:docMk/>
          <pc:sldMk cId="2693190642" sldId="259"/>
        </pc:sldMkLst>
      </pc:sldChg>
      <pc:sldChg chg="modSp mod">
        <pc:chgData name="Stephen Bridgman" userId="86e9c7dd-7b77-4652-8027-5efef0dd1d90" providerId="ADAL" clId="{C90665FD-D872-45BF-8363-8CE5CB628A7A}" dt="2023-06-01T15:36:02.582" v="1" actId="255"/>
        <pc:sldMkLst>
          <pc:docMk/>
          <pc:sldMk cId="2573505971" sldId="261"/>
        </pc:sldMkLst>
        <pc:spChg chg="mod">
          <ac:chgData name="Stephen Bridgman" userId="86e9c7dd-7b77-4652-8027-5efef0dd1d90" providerId="ADAL" clId="{C90665FD-D872-45BF-8363-8CE5CB628A7A}" dt="2023-06-01T15:36:02.582" v="1" actId="255"/>
          <ac:spMkLst>
            <pc:docMk/>
            <pc:sldMk cId="2573505971" sldId="261"/>
            <ac:spMk id="2" creationId="{84640F4C-D96E-799C-E792-23A550EA8945}"/>
          </ac:spMkLst>
        </pc:spChg>
      </pc:sldChg>
      <pc:sldChg chg="modSp mod">
        <pc:chgData name="Stephen Bridgman" userId="86e9c7dd-7b77-4652-8027-5efef0dd1d90" providerId="ADAL" clId="{C90665FD-D872-45BF-8363-8CE5CB628A7A}" dt="2023-06-01T15:36:21.917" v="4" actId="14100"/>
        <pc:sldMkLst>
          <pc:docMk/>
          <pc:sldMk cId="1574208493" sldId="262"/>
        </pc:sldMkLst>
        <pc:spChg chg="mod">
          <ac:chgData name="Stephen Bridgman" userId="86e9c7dd-7b77-4652-8027-5efef0dd1d90" providerId="ADAL" clId="{C90665FD-D872-45BF-8363-8CE5CB628A7A}" dt="2023-06-01T15:36:21.917" v="4" actId="14100"/>
          <ac:spMkLst>
            <pc:docMk/>
            <pc:sldMk cId="1574208493" sldId="262"/>
            <ac:spMk id="10" creationId="{C9CA76A8-9C54-DF70-6909-45CF2C3EFE85}"/>
          </ac:spMkLst>
        </pc:spChg>
      </pc:sldChg>
      <pc:sldChg chg="modSp mod">
        <pc:chgData name="Stephen Bridgman" userId="86e9c7dd-7b77-4652-8027-5efef0dd1d90" providerId="ADAL" clId="{C90665FD-D872-45BF-8363-8CE5CB628A7A}" dt="2023-06-01T15:36:49.563" v="25" actId="20577"/>
        <pc:sldMkLst>
          <pc:docMk/>
          <pc:sldMk cId="687121450" sldId="263"/>
        </pc:sldMkLst>
        <pc:spChg chg="mod">
          <ac:chgData name="Stephen Bridgman" userId="86e9c7dd-7b77-4652-8027-5efef0dd1d90" providerId="ADAL" clId="{C90665FD-D872-45BF-8363-8CE5CB628A7A}" dt="2023-06-01T15:36:35.829" v="10" actId="20577"/>
          <ac:spMkLst>
            <pc:docMk/>
            <pc:sldMk cId="687121450" sldId="263"/>
            <ac:spMk id="2" creationId="{6730D68C-D698-7104-E3D4-3899B4836D19}"/>
          </ac:spMkLst>
        </pc:spChg>
        <pc:spChg chg="mod">
          <ac:chgData name="Stephen Bridgman" userId="86e9c7dd-7b77-4652-8027-5efef0dd1d90" providerId="ADAL" clId="{C90665FD-D872-45BF-8363-8CE5CB628A7A}" dt="2023-06-01T15:36:49.563" v="25" actId="20577"/>
          <ac:spMkLst>
            <pc:docMk/>
            <pc:sldMk cId="687121450" sldId="263"/>
            <ac:spMk id="3" creationId="{1E9B909D-ABFB-453A-F68D-342A5F850DAB}"/>
          </ac:spMkLst>
        </pc:spChg>
      </pc:sldChg>
      <pc:sldChg chg="add del">
        <pc:chgData name="Stephen Bridgman" userId="86e9c7dd-7b77-4652-8027-5efef0dd1d90" providerId="ADAL" clId="{C90665FD-D872-45BF-8363-8CE5CB628A7A}" dt="2023-06-02T10:20:33.116" v="27" actId="47"/>
        <pc:sldMkLst>
          <pc:docMk/>
          <pc:sldMk cId="350152332" sldId="264"/>
        </pc:sldMkLst>
      </pc:sldChg>
    </pc:docChg>
  </pc:docChgLst>
  <pc:docChgLst>
    <pc:chgData name="Stephen Bridgman" userId="86e9c7dd-7b77-4652-8027-5efef0dd1d90" providerId="ADAL" clId="{F0808265-950B-4DCF-BEDE-59A503CFA654}"/>
    <pc:docChg chg="undo custSel addSld delSld modSld sldOrd modNotesMaster">
      <pc:chgData name="Stephen Bridgman" userId="86e9c7dd-7b77-4652-8027-5efef0dd1d90" providerId="ADAL" clId="{F0808265-950B-4DCF-BEDE-59A503CFA654}" dt="2024-02-06T15:13:10.897" v="5341" actId="14100"/>
      <pc:docMkLst>
        <pc:docMk/>
      </pc:docMkLst>
      <pc:sldChg chg="modSp mod">
        <pc:chgData name="Stephen Bridgman" userId="86e9c7dd-7b77-4652-8027-5efef0dd1d90" providerId="ADAL" clId="{F0808265-950B-4DCF-BEDE-59A503CFA654}" dt="2024-02-05T16:34:02.464" v="3058" actId="20577"/>
        <pc:sldMkLst>
          <pc:docMk/>
          <pc:sldMk cId="1058048612" sldId="257"/>
        </pc:sldMkLst>
        <pc:spChg chg="mod">
          <ac:chgData name="Stephen Bridgman" userId="86e9c7dd-7b77-4652-8027-5efef0dd1d90" providerId="ADAL" clId="{F0808265-950B-4DCF-BEDE-59A503CFA654}" dt="2024-01-15T15:16:00.013" v="150" actId="6549"/>
          <ac:spMkLst>
            <pc:docMk/>
            <pc:sldMk cId="1058048612" sldId="257"/>
            <ac:spMk id="2" creationId="{00000000-0000-0000-0000-000000000000}"/>
          </ac:spMkLst>
        </pc:spChg>
        <pc:spChg chg="mod">
          <ac:chgData name="Stephen Bridgman" userId="86e9c7dd-7b77-4652-8027-5efef0dd1d90" providerId="ADAL" clId="{F0808265-950B-4DCF-BEDE-59A503CFA654}" dt="2024-02-05T16:34:02.464" v="3058" actId="20577"/>
          <ac:spMkLst>
            <pc:docMk/>
            <pc:sldMk cId="1058048612" sldId="257"/>
            <ac:spMk id="3" creationId="{00000000-0000-0000-0000-000000000000}"/>
          </ac:spMkLst>
        </pc:spChg>
      </pc:sldChg>
      <pc:sldChg chg="modSp mod">
        <pc:chgData name="Stephen Bridgman" userId="86e9c7dd-7b77-4652-8027-5efef0dd1d90" providerId="ADAL" clId="{F0808265-950B-4DCF-BEDE-59A503CFA654}" dt="2024-02-06T10:27:40.877" v="3525" actId="20577"/>
        <pc:sldMkLst>
          <pc:docMk/>
          <pc:sldMk cId="3944307982" sldId="258"/>
        </pc:sldMkLst>
        <pc:spChg chg="mod">
          <ac:chgData name="Stephen Bridgman" userId="86e9c7dd-7b77-4652-8027-5efef0dd1d90" providerId="ADAL" clId="{F0808265-950B-4DCF-BEDE-59A503CFA654}" dt="2024-02-06T10:27:40.877" v="3525" actId="20577"/>
          <ac:spMkLst>
            <pc:docMk/>
            <pc:sldMk cId="3944307982" sldId="258"/>
            <ac:spMk id="2" creationId="{3AD3BF7F-B0C2-9D7B-62EA-3917528EAB4B}"/>
          </ac:spMkLst>
        </pc:spChg>
      </pc:sldChg>
      <pc:sldChg chg="modSp mod">
        <pc:chgData name="Stephen Bridgman" userId="86e9c7dd-7b77-4652-8027-5efef0dd1d90" providerId="ADAL" clId="{F0808265-950B-4DCF-BEDE-59A503CFA654}" dt="2024-02-06T15:00:50.397" v="5167" actId="20577"/>
        <pc:sldMkLst>
          <pc:docMk/>
          <pc:sldMk cId="1513339405" sldId="259"/>
        </pc:sldMkLst>
        <pc:spChg chg="mod">
          <ac:chgData name="Stephen Bridgman" userId="86e9c7dd-7b77-4652-8027-5efef0dd1d90" providerId="ADAL" clId="{F0808265-950B-4DCF-BEDE-59A503CFA654}" dt="2024-02-06T15:00:50.397" v="5167" actId="20577"/>
          <ac:spMkLst>
            <pc:docMk/>
            <pc:sldMk cId="1513339405" sldId="259"/>
            <ac:spMk id="2" creationId="{513B815F-0E87-C8E2-0537-80E28380AC69}"/>
          </ac:spMkLst>
        </pc:spChg>
      </pc:sldChg>
      <pc:sldChg chg="modSp mod">
        <pc:chgData name="Stephen Bridgman" userId="86e9c7dd-7b77-4652-8027-5efef0dd1d90" providerId="ADAL" clId="{F0808265-950B-4DCF-BEDE-59A503CFA654}" dt="2024-02-06T15:00:24.717" v="5149" actId="20577"/>
        <pc:sldMkLst>
          <pc:docMk/>
          <pc:sldMk cId="3707788915" sldId="260"/>
        </pc:sldMkLst>
        <pc:spChg chg="mod">
          <ac:chgData name="Stephen Bridgman" userId="86e9c7dd-7b77-4652-8027-5efef0dd1d90" providerId="ADAL" clId="{F0808265-950B-4DCF-BEDE-59A503CFA654}" dt="2024-02-06T15:00:24.717" v="5149" actId="20577"/>
          <ac:spMkLst>
            <pc:docMk/>
            <pc:sldMk cId="3707788915" sldId="260"/>
            <ac:spMk id="2" creationId="{F25DF407-F601-DEDA-CF50-3F24375A77AA}"/>
          </ac:spMkLst>
        </pc:spChg>
        <pc:graphicFrameChg chg="mod">
          <ac:chgData name="Stephen Bridgman" userId="86e9c7dd-7b77-4652-8027-5efef0dd1d90" providerId="ADAL" clId="{F0808265-950B-4DCF-BEDE-59A503CFA654}" dt="2024-02-05T14:49:50.722" v="2626"/>
          <ac:graphicFrameMkLst>
            <pc:docMk/>
            <pc:sldMk cId="3707788915" sldId="260"/>
            <ac:graphicFrameMk id="7" creationId="{91689532-93A8-4A75-871A-8CC064507B3C}"/>
          </ac:graphicFrameMkLst>
        </pc:graphicFrameChg>
      </pc:sldChg>
      <pc:sldChg chg="modSp mod">
        <pc:chgData name="Stephen Bridgman" userId="86e9c7dd-7b77-4652-8027-5efef0dd1d90" providerId="ADAL" clId="{F0808265-950B-4DCF-BEDE-59A503CFA654}" dt="2024-02-06T13:51:25.498" v="4101" actId="20577"/>
        <pc:sldMkLst>
          <pc:docMk/>
          <pc:sldMk cId="435378937" sldId="261"/>
        </pc:sldMkLst>
        <pc:spChg chg="mod">
          <ac:chgData name="Stephen Bridgman" userId="86e9c7dd-7b77-4652-8027-5efef0dd1d90" providerId="ADAL" clId="{F0808265-950B-4DCF-BEDE-59A503CFA654}" dt="2024-02-06T13:51:25.498" v="4101" actId="20577"/>
          <ac:spMkLst>
            <pc:docMk/>
            <pc:sldMk cId="435378937" sldId="261"/>
            <ac:spMk id="2" creationId="{F25DF407-F601-DEDA-CF50-3F24375A77AA}"/>
          </ac:spMkLst>
        </pc:spChg>
      </pc:sldChg>
      <pc:sldChg chg="modSp mod">
        <pc:chgData name="Stephen Bridgman" userId="86e9c7dd-7b77-4652-8027-5efef0dd1d90" providerId="ADAL" clId="{F0808265-950B-4DCF-BEDE-59A503CFA654}" dt="2024-02-06T13:51:35.611" v="4107" actId="20577"/>
        <pc:sldMkLst>
          <pc:docMk/>
          <pc:sldMk cId="2230760400" sldId="262"/>
        </pc:sldMkLst>
        <pc:spChg chg="mod">
          <ac:chgData name="Stephen Bridgman" userId="86e9c7dd-7b77-4652-8027-5efef0dd1d90" providerId="ADAL" clId="{F0808265-950B-4DCF-BEDE-59A503CFA654}" dt="2024-02-06T13:51:35.611" v="4107" actId="20577"/>
          <ac:spMkLst>
            <pc:docMk/>
            <pc:sldMk cId="2230760400" sldId="262"/>
            <ac:spMk id="2" creationId="{C1535DAF-4843-ABA9-823F-EDDED298D3E2}"/>
          </ac:spMkLst>
        </pc:spChg>
      </pc:sldChg>
      <pc:sldChg chg="addSp delSp modSp mod ord">
        <pc:chgData name="Stephen Bridgman" userId="86e9c7dd-7b77-4652-8027-5efef0dd1d90" providerId="ADAL" clId="{F0808265-950B-4DCF-BEDE-59A503CFA654}" dt="2024-02-06T14:59:27.533" v="5147" actId="255"/>
        <pc:sldMkLst>
          <pc:docMk/>
          <pc:sldMk cId="350152332" sldId="264"/>
        </pc:sldMkLst>
        <pc:spChg chg="mod">
          <ac:chgData name="Stephen Bridgman" userId="86e9c7dd-7b77-4652-8027-5efef0dd1d90" providerId="ADAL" clId="{F0808265-950B-4DCF-BEDE-59A503CFA654}" dt="2024-02-06T13:48:30.907" v="4035" actId="20577"/>
          <ac:spMkLst>
            <pc:docMk/>
            <pc:sldMk cId="350152332" sldId="264"/>
            <ac:spMk id="2" creationId="{D91F44D7-1FAB-3847-0CE5-E186C083E55E}"/>
          </ac:spMkLst>
        </pc:spChg>
        <pc:spChg chg="mod">
          <ac:chgData name="Stephen Bridgman" userId="86e9c7dd-7b77-4652-8027-5efef0dd1d90" providerId="ADAL" clId="{F0808265-950B-4DCF-BEDE-59A503CFA654}" dt="2024-02-06T14:59:27.533" v="5147" actId="255"/>
          <ac:spMkLst>
            <pc:docMk/>
            <pc:sldMk cId="350152332" sldId="264"/>
            <ac:spMk id="3" creationId="{EC286EA6-EF46-65C3-1F0C-E6AC766F9D35}"/>
          </ac:spMkLst>
        </pc:spChg>
        <pc:picChg chg="del">
          <ac:chgData name="Stephen Bridgman" userId="86e9c7dd-7b77-4652-8027-5efef0dd1d90" providerId="ADAL" clId="{F0808265-950B-4DCF-BEDE-59A503CFA654}" dt="2024-02-05T16:27:07.476" v="3029" actId="478"/>
          <ac:picMkLst>
            <pc:docMk/>
            <pc:sldMk cId="350152332" sldId="264"/>
            <ac:picMk id="4" creationId="{077C7766-8A07-03B8-2025-1B07CD7F7490}"/>
          </ac:picMkLst>
        </pc:picChg>
        <pc:picChg chg="add mod">
          <ac:chgData name="Stephen Bridgman" userId="86e9c7dd-7b77-4652-8027-5efef0dd1d90" providerId="ADAL" clId="{F0808265-950B-4DCF-BEDE-59A503CFA654}" dt="2024-02-06T10:04:52.822" v="3112" actId="14100"/>
          <ac:picMkLst>
            <pc:docMk/>
            <pc:sldMk cId="350152332" sldId="264"/>
            <ac:picMk id="5" creationId="{5DCAF4B8-ADD1-AF96-9FF2-589F784AE6C4}"/>
          </ac:picMkLst>
        </pc:picChg>
      </pc:sldChg>
      <pc:sldChg chg="modSp mod">
        <pc:chgData name="Stephen Bridgman" userId="86e9c7dd-7b77-4652-8027-5efef0dd1d90" providerId="ADAL" clId="{F0808265-950B-4DCF-BEDE-59A503CFA654}" dt="2024-02-06T13:50:06.809" v="4069" actId="1036"/>
        <pc:sldMkLst>
          <pc:docMk/>
          <pc:sldMk cId="1931723607" sldId="265"/>
        </pc:sldMkLst>
        <pc:spChg chg="mod">
          <ac:chgData name="Stephen Bridgman" userId="86e9c7dd-7b77-4652-8027-5efef0dd1d90" providerId="ADAL" clId="{F0808265-950B-4DCF-BEDE-59A503CFA654}" dt="2024-02-06T13:49:40.377" v="4067" actId="20577"/>
          <ac:spMkLst>
            <pc:docMk/>
            <pc:sldMk cId="1931723607" sldId="265"/>
            <ac:spMk id="2" creationId="{B2A3E217-ED45-E371-B319-E9691EBCE733}"/>
          </ac:spMkLst>
        </pc:spChg>
        <pc:graphicFrameChg chg="mod">
          <ac:chgData name="Stephen Bridgman" userId="86e9c7dd-7b77-4652-8027-5efef0dd1d90" providerId="ADAL" clId="{F0808265-950B-4DCF-BEDE-59A503CFA654}" dt="2024-02-06T13:50:06.809" v="4069" actId="1036"/>
          <ac:graphicFrameMkLst>
            <pc:docMk/>
            <pc:sldMk cId="1931723607" sldId="265"/>
            <ac:graphicFrameMk id="4" creationId="{F00732D8-1F14-05F0-BCDA-2D9C8FE145BF}"/>
          </ac:graphicFrameMkLst>
        </pc:graphicFrameChg>
      </pc:sldChg>
      <pc:sldChg chg="addSp delSp modSp mod">
        <pc:chgData name="Stephen Bridgman" userId="86e9c7dd-7b77-4652-8027-5efef0dd1d90" providerId="ADAL" clId="{F0808265-950B-4DCF-BEDE-59A503CFA654}" dt="2024-02-06T15:13:10.897" v="5341" actId="14100"/>
        <pc:sldMkLst>
          <pc:docMk/>
          <pc:sldMk cId="1357400805" sldId="266"/>
        </pc:sldMkLst>
        <pc:spChg chg="mod">
          <ac:chgData name="Stephen Bridgman" userId="86e9c7dd-7b77-4652-8027-5efef0dd1d90" providerId="ADAL" clId="{F0808265-950B-4DCF-BEDE-59A503CFA654}" dt="2024-02-06T14:46:11.733" v="5143" actId="20577"/>
          <ac:spMkLst>
            <pc:docMk/>
            <pc:sldMk cId="1357400805" sldId="266"/>
            <ac:spMk id="2" creationId="{960689E2-3066-BE8E-AF2D-293E858A9C27}"/>
          </ac:spMkLst>
        </pc:spChg>
        <pc:spChg chg="del">
          <ac:chgData name="Stephen Bridgman" userId="86e9c7dd-7b77-4652-8027-5efef0dd1d90" providerId="ADAL" clId="{F0808265-950B-4DCF-BEDE-59A503CFA654}" dt="2024-02-06T15:13:00.966" v="5338"/>
          <ac:spMkLst>
            <pc:docMk/>
            <pc:sldMk cId="1357400805" sldId="266"/>
            <ac:spMk id="3" creationId="{F280CCAE-00E0-31B2-C7C8-8F657C91D902}"/>
          </ac:spMkLst>
        </pc:spChg>
        <pc:spChg chg="add mod">
          <ac:chgData name="Stephen Bridgman" userId="86e9c7dd-7b77-4652-8027-5efef0dd1d90" providerId="ADAL" clId="{F0808265-950B-4DCF-BEDE-59A503CFA654}" dt="2024-02-06T15:12:41.687" v="5337" actId="571"/>
          <ac:spMkLst>
            <pc:docMk/>
            <pc:sldMk cId="1357400805" sldId="266"/>
            <ac:spMk id="5" creationId="{9E5E1067-104D-C05A-5CE3-0E4AF1CEF337}"/>
          </ac:spMkLst>
        </pc:spChg>
        <pc:graphicFrameChg chg="del mod">
          <ac:chgData name="Stephen Bridgman" userId="86e9c7dd-7b77-4652-8027-5efef0dd1d90" providerId="ADAL" clId="{F0808265-950B-4DCF-BEDE-59A503CFA654}" dt="2024-02-06T15:12:35.801" v="5336" actId="478"/>
          <ac:graphicFrameMkLst>
            <pc:docMk/>
            <pc:sldMk cId="1357400805" sldId="266"/>
            <ac:graphicFrameMk id="4" creationId="{84CA95F6-D9C3-7068-FC8C-BF172C42CE2A}"/>
          </ac:graphicFrameMkLst>
        </pc:graphicFrameChg>
        <pc:graphicFrameChg chg="add mod">
          <ac:chgData name="Stephen Bridgman" userId="86e9c7dd-7b77-4652-8027-5efef0dd1d90" providerId="ADAL" clId="{F0808265-950B-4DCF-BEDE-59A503CFA654}" dt="2024-02-06T15:13:10.897" v="5341" actId="14100"/>
          <ac:graphicFrameMkLst>
            <pc:docMk/>
            <pc:sldMk cId="1357400805" sldId="266"/>
            <ac:graphicFrameMk id="7" creationId="{0F5D06C8-8B02-06EF-DD29-97471A20DE88}"/>
          </ac:graphicFrameMkLst>
        </pc:graphicFrameChg>
      </pc:sldChg>
      <pc:sldChg chg="addSp delSp modSp new mod">
        <pc:chgData name="Stephen Bridgman" userId="86e9c7dd-7b77-4652-8027-5efef0dd1d90" providerId="ADAL" clId="{F0808265-950B-4DCF-BEDE-59A503CFA654}" dt="2024-02-05T14:43:47.886" v="2508" actId="20577"/>
        <pc:sldMkLst>
          <pc:docMk/>
          <pc:sldMk cId="147119985" sldId="268"/>
        </pc:sldMkLst>
        <pc:spChg chg="mod">
          <ac:chgData name="Stephen Bridgman" userId="86e9c7dd-7b77-4652-8027-5efef0dd1d90" providerId="ADAL" clId="{F0808265-950B-4DCF-BEDE-59A503CFA654}" dt="2024-02-05T12:49:18.561" v="2483" actId="1076"/>
          <ac:spMkLst>
            <pc:docMk/>
            <pc:sldMk cId="147119985" sldId="268"/>
            <ac:spMk id="2" creationId="{F864DAE8-7D26-FC47-E153-67C7521B7A2F}"/>
          </ac:spMkLst>
        </pc:spChg>
        <pc:spChg chg="mod">
          <ac:chgData name="Stephen Bridgman" userId="86e9c7dd-7b77-4652-8027-5efef0dd1d90" providerId="ADAL" clId="{F0808265-950B-4DCF-BEDE-59A503CFA654}" dt="2024-02-05T14:43:47.886" v="2508" actId="20577"/>
          <ac:spMkLst>
            <pc:docMk/>
            <pc:sldMk cId="147119985" sldId="268"/>
            <ac:spMk id="3" creationId="{8F3FE5C7-A4DA-294F-92E1-F0BF488C83A3}"/>
          </ac:spMkLst>
        </pc:spChg>
        <pc:spChg chg="del mod">
          <ac:chgData name="Stephen Bridgman" userId="86e9c7dd-7b77-4652-8027-5efef0dd1d90" providerId="ADAL" clId="{F0808265-950B-4DCF-BEDE-59A503CFA654}" dt="2024-02-05T12:49:16.658" v="2481" actId="22"/>
          <ac:spMkLst>
            <pc:docMk/>
            <pc:sldMk cId="147119985" sldId="268"/>
            <ac:spMk id="4" creationId="{ADBAE7C9-C2C7-1521-C5AA-A98B7CC34894}"/>
          </ac:spMkLst>
        </pc:spChg>
        <pc:picChg chg="add mod ord">
          <ac:chgData name="Stephen Bridgman" userId="86e9c7dd-7b77-4652-8027-5efef0dd1d90" providerId="ADAL" clId="{F0808265-950B-4DCF-BEDE-59A503CFA654}" dt="2024-02-05T12:49:21.711" v="2484" actId="14100"/>
          <ac:picMkLst>
            <pc:docMk/>
            <pc:sldMk cId="147119985" sldId="268"/>
            <ac:picMk id="6" creationId="{9453B69C-DFA8-A132-88E6-14FDD9350583}"/>
          </ac:picMkLst>
        </pc:picChg>
      </pc:sldChg>
      <pc:sldChg chg="addSp delSp modSp new mod ord">
        <pc:chgData name="Stephen Bridgman" userId="86e9c7dd-7b77-4652-8027-5efef0dd1d90" providerId="ADAL" clId="{F0808265-950B-4DCF-BEDE-59A503CFA654}" dt="2024-02-06T09:56:58.495" v="3063" actId="20577"/>
        <pc:sldMkLst>
          <pc:docMk/>
          <pc:sldMk cId="4158882773" sldId="269"/>
        </pc:sldMkLst>
        <pc:spChg chg="mod">
          <ac:chgData name="Stephen Bridgman" userId="86e9c7dd-7b77-4652-8027-5efef0dd1d90" providerId="ADAL" clId="{F0808265-950B-4DCF-BEDE-59A503CFA654}" dt="2024-02-05T14:44:24.436" v="2552" actId="20577"/>
          <ac:spMkLst>
            <pc:docMk/>
            <pc:sldMk cId="4158882773" sldId="269"/>
            <ac:spMk id="2" creationId="{3F22383F-BB4E-3FEF-9793-6828CD154425}"/>
          </ac:spMkLst>
        </pc:spChg>
        <pc:spChg chg="mod">
          <ac:chgData name="Stephen Bridgman" userId="86e9c7dd-7b77-4652-8027-5efef0dd1d90" providerId="ADAL" clId="{F0808265-950B-4DCF-BEDE-59A503CFA654}" dt="2024-02-06T09:56:58.495" v="3063" actId="20577"/>
          <ac:spMkLst>
            <pc:docMk/>
            <pc:sldMk cId="4158882773" sldId="269"/>
            <ac:spMk id="3" creationId="{111757EA-ED14-C762-4326-F1B1E30C23F9}"/>
          </ac:spMkLst>
        </pc:spChg>
        <pc:spChg chg="del">
          <ac:chgData name="Stephen Bridgman" userId="86e9c7dd-7b77-4652-8027-5efef0dd1d90" providerId="ADAL" clId="{F0808265-950B-4DCF-BEDE-59A503CFA654}" dt="2024-02-05T12:53:57.572" v="2485" actId="22"/>
          <ac:spMkLst>
            <pc:docMk/>
            <pc:sldMk cId="4158882773" sldId="269"/>
            <ac:spMk id="4" creationId="{0E92592B-81BB-6D3B-6AE3-56B971813D94}"/>
          </ac:spMkLst>
        </pc:spChg>
        <pc:picChg chg="add mod ord">
          <ac:chgData name="Stephen Bridgman" userId="86e9c7dd-7b77-4652-8027-5efef0dd1d90" providerId="ADAL" clId="{F0808265-950B-4DCF-BEDE-59A503CFA654}" dt="2024-02-05T12:54:01.867" v="2487" actId="14100"/>
          <ac:picMkLst>
            <pc:docMk/>
            <pc:sldMk cId="4158882773" sldId="269"/>
            <ac:picMk id="6" creationId="{C3AC780A-0D8E-87ED-864C-9270445F76B0}"/>
          </ac:picMkLst>
        </pc:picChg>
      </pc:sldChg>
      <pc:sldChg chg="addSp modSp new mod">
        <pc:chgData name="Stephen Bridgman" userId="86e9c7dd-7b77-4652-8027-5efef0dd1d90" providerId="ADAL" clId="{F0808265-950B-4DCF-BEDE-59A503CFA654}" dt="2024-02-06T09:58:50.516" v="3091" actId="27636"/>
        <pc:sldMkLst>
          <pc:docMk/>
          <pc:sldMk cId="445332605" sldId="270"/>
        </pc:sldMkLst>
        <pc:spChg chg="mod">
          <ac:chgData name="Stephen Bridgman" userId="86e9c7dd-7b77-4652-8027-5efef0dd1d90" providerId="ADAL" clId="{F0808265-950B-4DCF-BEDE-59A503CFA654}" dt="2024-02-05T14:45:45.444" v="2620" actId="14100"/>
          <ac:spMkLst>
            <pc:docMk/>
            <pc:sldMk cId="445332605" sldId="270"/>
            <ac:spMk id="2" creationId="{248FCE4A-5C17-E01A-638C-191FA5A2A4B0}"/>
          </ac:spMkLst>
        </pc:spChg>
        <pc:spChg chg="mod">
          <ac:chgData name="Stephen Bridgman" userId="86e9c7dd-7b77-4652-8027-5efef0dd1d90" providerId="ADAL" clId="{F0808265-950B-4DCF-BEDE-59A503CFA654}" dt="2024-02-06T09:58:50.516" v="3091" actId="27636"/>
          <ac:spMkLst>
            <pc:docMk/>
            <pc:sldMk cId="445332605" sldId="270"/>
            <ac:spMk id="3" creationId="{C22071DA-3381-0BAF-235D-827391622DFE}"/>
          </ac:spMkLst>
        </pc:spChg>
        <pc:spChg chg="mod">
          <ac:chgData name="Stephen Bridgman" userId="86e9c7dd-7b77-4652-8027-5efef0dd1d90" providerId="ADAL" clId="{F0808265-950B-4DCF-BEDE-59A503CFA654}" dt="2024-02-06T09:58:50.515" v="3090" actId="27636"/>
          <ac:spMkLst>
            <pc:docMk/>
            <pc:sldMk cId="445332605" sldId="270"/>
            <ac:spMk id="4" creationId="{0E1B69BF-1EC6-425E-2EB8-833878B8D0BB}"/>
          </ac:spMkLst>
        </pc:spChg>
        <pc:picChg chg="add mod">
          <ac:chgData name="Stephen Bridgman" userId="86e9c7dd-7b77-4652-8027-5efef0dd1d90" providerId="ADAL" clId="{F0808265-950B-4DCF-BEDE-59A503CFA654}" dt="2024-02-05T14:45:53.237" v="2624" actId="1036"/>
          <ac:picMkLst>
            <pc:docMk/>
            <pc:sldMk cId="445332605" sldId="270"/>
            <ac:picMk id="6" creationId="{B3D8F268-2FA9-78AF-FF3B-02BBBDE045CC}"/>
          </ac:picMkLst>
        </pc:picChg>
      </pc:sldChg>
      <pc:sldChg chg="modSp new mod">
        <pc:chgData name="Stephen Bridgman" userId="86e9c7dd-7b77-4652-8027-5efef0dd1d90" providerId="ADAL" clId="{F0808265-950B-4DCF-BEDE-59A503CFA654}" dt="2024-02-06T13:44:54.632" v="3974" actId="27636"/>
        <pc:sldMkLst>
          <pc:docMk/>
          <pc:sldMk cId="431439492" sldId="271"/>
        </pc:sldMkLst>
        <pc:spChg chg="mod">
          <ac:chgData name="Stephen Bridgman" userId="86e9c7dd-7b77-4652-8027-5efef0dd1d90" providerId="ADAL" clId="{F0808265-950B-4DCF-BEDE-59A503CFA654}" dt="2024-01-19T10:04:23.572" v="1480" actId="20577"/>
          <ac:spMkLst>
            <pc:docMk/>
            <pc:sldMk cId="431439492" sldId="271"/>
            <ac:spMk id="2" creationId="{E790FF26-65EB-F266-FB95-D3151BEA4B79}"/>
          </ac:spMkLst>
        </pc:spChg>
        <pc:spChg chg="mod">
          <ac:chgData name="Stephen Bridgman" userId="86e9c7dd-7b77-4652-8027-5efef0dd1d90" providerId="ADAL" clId="{F0808265-950B-4DCF-BEDE-59A503CFA654}" dt="2024-02-06T13:44:54.632" v="3974" actId="27636"/>
          <ac:spMkLst>
            <pc:docMk/>
            <pc:sldMk cId="431439492" sldId="271"/>
            <ac:spMk id="3" creationId="{9772DECD-6B9A-3FF9-2D4D-2DAD5C47A4D0}"/>
          </ac:spMkLst>
        </pc:spChg>
        <pc:spChg chg="mod">
          <ac:chgData name="Stephen Bridgman" userId="86e9c7dd-7b77-4652-8027-5efef0dd1d90" providerId="ADAL" clId="{F0808265-950B-4DCF-BEDE-59A503CFA654}" dt="2024-02-06T13:44:54.630" v="3973" actId="27636"/>
          <ac:spMkLst>
            <pc:docMk/>
            <pc:sldMk cId="431439492" sldId="271"/>
            <ac:spMk id="4" creationId="{8F9BC481-1E97-FA70-1615-9729BD4618BA}"/>
          </ac:spMkLst>
        </pc:spChg>
      </pc:sldChg>
      <pc:sldChg chg="modSp new mod">
        <pc:chgData name="Stephen Bridgman" userId="86e9c7dd-7b77-4652-8027-5efef0dd1d90" providerId="ADAL" clId="{F0808265-950B-4DCF-BEDE-59A503CFA654}" dt="2024-01-16T15:55:40.109" v="502"/>
        <pc:sldMkLst>
          <pc:docMk/>
          <pc:sldMk cId="2446989960" sldId="272"/>
        </pc:sldMkLst>
        <pc:spChg chg="mod">
          <ac:chgData name="Stephen Bridgman" userId="86e9c7dd-7b77-4652-8027-5efef0dd1d90" providerId="ADAL" clId="{F0808265-950B-4DCF-BEDE-59A503CFA654}" dt="2024-01-16T15:55:40.109" v="502"/>
          <ac:spMkLst>
            <pc:docMk/>
            <pc:sldMk cId="2446989960" sldId="272"/>
            <ac:spMk id="2" creationId="{3919D359-15CF-2510-9CD1-5953EBC9F130}"/>
          </ac:spMkLst>
        </pc:spChg>
      </pc:sldChg>
      <pc:sldChg chg="modSp mod">
        <pc:chgData name="Stephen Bridgman" userId="86e9c7dd-7b77-4652-8027-5efef0dd1d90" providerId="ADAL" clId="{F0808265-950B-4DCF-BEDE-59A503CFA654}" dt="2024-02-06T14:01:33.607" v="4981" actId="14100"/>
        <pc:sldMkLst>
          <pc:docMk/>
          <pc:sldMk cId="3140439560" sldId="273"/>
        </pc:sldMkLst>
        <pc:spChg chg="mod">
          <ac:chgData name="Stephen Bridgman" userId="86e9c7dd-7b77-4652-8027-5efef0dd1d90" providerId="ADAL" clId="{F0808265-950B-4DCF-BEDE-59A503CFA654}" dt="2024-02-06T14:01:33.607" v="4981" actId="14100"/>
          <ac:spMkLst>
            <pc:docMk/>
            <pc:sldMk cId="3140439560" sldId="273"/>
            <ac:spMk id="3" creationId="{103419CF-FFA7-EB9D-72B5-882404AA367E}"/>
          </ac:spMkLst>
        </pc:spChg>
      </pc:sldChg>
      <pc:sldChg chg="modSp new mod">
        <pc:chgData name="Stephen Bridgman" userId="86e9c7dd-7b77-4652-8027-5efef0dd1d90" providerId="ADAL" clId="{F0808265-950B-4DCF-BEDE-59A503CFA654}" dt="2024-01-16T15:56:28.591" v="504"/>
        <pc:sldMkLst>
          <pc:docMk/>
          <pc:sldMk cId="3160682306" sldId="273"/>
        </pc:sldMkLst>
        <pc:spChg chg="mod">
          <ac:chgData name="Stephen Bridgman" userId="86e9c7dd-7b77-4652-8027-5efef0dd1d90" providerId="ADAL" clId="{F0808265-950B-4DCF-BEDE-59A503CFA654}" dt="2024-01-16T15:56:28.591" v="504"/>
          <ac:spMkLst>
            <pc:docMk/>
            <pc:sldMk cId="3160682306" sldId="273"/>
            <ac:spMk id="2" creationId="{442B1409-C38E-704A-F5E1-2048BB78F5DA}"/>
          </ac:spMkLst>
        </pc:spChg>
      </pc:sldChg>
      <pc:sldChg chg="modSp new mod ord">
        <pc:chgData name="Stephen Bridgman" userId="86e9c7dd-7b77-4652-8027-5efef0dd1d90" providerId="ADAL" clId="{F0808265-950B-4DCF-BEDE-59A503CFA654}" dt="2024-02-06T15:05:00.636" v="5334" actId="20577"/>
        <pc:sldMkLst>
          <pc:docMk/>
          <pc:sldMk cId="2123026507" sldId="274"/>
        </pc:sldMkLst>
        <pc:spChg chg="mod">
          <ac:chgData name="Stephen Bridgman" userId="86e9c7dd-7b77-4652-8027-5efef0dd1d90" providerId="ADAL" clId="{F0808265-950B-4DCF-BEDE-59A503CFA654}" dt="2024-02-06T14:02:45.728" v="4993" actId="20577"/>
          <ac:spMkLst>
            <pc:docMk/>
            <pc:sldMk cId="2123026507" sldId="274"/>
            <ac:spMk id="2" creationId="{D60D83E8-6E32-3002-1CD9-B9BF69DC1D49}"/>
          </ac:spMkLst>
        </pc:spChg>
        <pc:spChg chg="mod">
          <ac:chgData name="Stephen Bridgman" userId="86e9c7dd-7b77-4652-8027-5efef0dd1d90" providerId="ADAL" clId="{F0808265-950B-4DCF-BEDE-59A503CFA654}" dt="2024-02-06T15:05:00.636" v="5334" actId="20577"/>
          <ac:spMkLst>
            <pc:docMk/>
            <pc:sldMk cId="2123026507" sldId="274"/>
            <ac:spMk id="3" creationId="{46712F58-D59E-C0D7-2ABE-1BCB268E6CA7}"/>
          </ac:spMkLst>
        </pc:spChg>
        <pc:spChg chg="mod">
          <ac:chgData name="Stephen Bridgman" userId="86e9c7dd-7b77-4652-8027-5efef0dd1d90" providerId="ADAL" clId="{F0808265-950B-4DCF-BEDE-59A503CFA654}" dt="2024-02-06T15:04:41.481" v="5327" actId="27636"/>
          <ac:spMkLst>
            <pc:docMk/>
            <pc:sldMk cId="2123026507" sldId="274"/>
            <ac:spMk id="4" creationId="{A8F79B46-CE0F-A73E-A3A7-2EFD86C053E5}"/>
          </ac:spMkLst>
        </pc:spChg>
      </pc:sldChg>
      <pc:sldChg chg="modSp new mod">
        <pc:chgData name="Stephen Bridgman" userId="86e9c7dd-7b77-4652-8027-5efef0dd1d90" providerId="ADAL" clId="{F0808265-950B-4DCF-BEDE-59A503CFA654}" dt="2024-01-19T10:06:17.922" v="1582" actId="20577"/>
        <pc:sldMkLst>
          <pc:docMk/>
          <pc:sldMk cId="3822684082" sldId="275"/>
        </pc:sldMkLst>
        <pc:spChg chg="mod">
          <ac:chgData name="Stephen Bridgman" userId="86e9c7dd-7b77-4652-8027-5efef0dd1d90" providerId="ADAL" clId="{F0808265-950B-4DCF-BEDE-59A503CFA654}" dt="2024-01-19T10:06:17.922" v="1582" actId="20577"/>
          <ac:spMkLst>
            <pc:docMk/>
            <pc:sldMk cId="3822684082" sldId="275"/>
            <ac:spMk id="2" creationId="{576C485F-DAF7-2E2A-3A2E-64BBF7F5039F}"/>
          </ac:spMkLst>
        </pc:spChg>
      </pc:sldChg>
      <pc:sldChg chg="modSp new del mod">
        <pc:chgData name="Stephen Bridgman" userId="86e9c7dd-7b77-4652-8027-5efef0dd1d90" providerId="ADAL" clId="{F0808265-950B-4DCF-BEDE-59A503CFA654}" dt="2024-01-22T14:49:52.667" v="2355" actId="2696"/>
        <pc:sldMkLst>
          <pc:docMk/>
          <pc:sldMk cId="3591021076" sldId="276"/>
        </pc:sldMkLst>
        <pc:spChg chg="mod">
          <ac:chgData name="Stephen Bridgman" userId="86e9c7dd-7b77-4652-8027-5efef0dd1d90" providerId="ADAL" clId="{F0808265-950B-4DCF-BEDE-59A503CFA654}" dt="2024-01-19T14:17:48.145" v="1798" actId="20577"/>
          <ac:spMkLst>
            <pc:docMk/>
            <pc:sldMk cId="3591021076" sldId="276"/>
            <ac:spMk id="2" creationId="{457E7A17-1A32-AA7C-4136-683262AFB39A}"/>
          </ac:spMkLst>
        </pc:spChg>
      </pc:sldChg>
      <pc:sldChg chg="modSp new mod ord">
        <pc:chgData name="Stephen Bridgman" userId="86e9c7dd-7b77-4652-8027-5efef0dd1d90" providerId="ADAL" clId="{F0808265-950B-4DCF-BEDE-59A503CFA654}" dt="2024-02-06T14:58:09.518" v="5144" actId="255"/>
        <pc:sldMkLst>
          <pc:docMk/>
          <pc:sldMk cId="2516046570" sldId="277"/>
        </pc:sldMkLst>
        <pc:spChg chg="mod">
          <ac:chgData name="Stephen Bridgman" userId="86e9c7dd-7b77-4652-8027-5efef0dd1d90" providerId="ADAL" clId="{F0808265-950B-4DCF-BEDE-59A503CFA654}" dt="2024-01-19T16:14:37.322" v="1961" actId="20577"/>
          <ac:spMkLst>
            <pc:docMk/>
            <pc:sldMk cId="2516046570" sldId="277"/>
            <ac:spMk id="2" creationId="{F66A7F64-73A6-3448-6926-C5E4F7A7D310}"/>
          </ac:spMkLst>
        </pc:spChg>
        <pc:spChg chg="mod">
          <ac:chgData name="Stephen Bridgman" userId="86e9c7dd-7b77-4652-8027-5efef0dd1d90" providerId="ADAL" clId="{F0808265-950B-4DCF-BEDE-59A503CFA654}" dt="2024-02-06T14:58:09.518" v="5144" actId="255"/>
          <ac:spMkLst>
            <pc:docMk/>
            <pc:sldMk cId="2516046570" sldId="277"/>
            <ac:spMk id="3" creationId="{85D62393-8C9E-7E2B-6663-AD214612E122}"/>
          </ac:spMkLst>
        </pc:spChg>
        <pc:spChg chg="mod">
          <ac:chgData name="Stephen Bridgman" userId="86e9c7dd-7b77-4652-8027-5efef0dd1d90" providerId="ADAL" clId="{F0808265-950B-4DCF-BEDE-59A503CFA654}" dt="2024-01-19T16:11:44.066" v="1804" actId="14100"/>
          <ac:spMkLst>
            <pc:docMk/>
            <pc:sldMk cId="2516046570" sldId="277"/>
            <ac:spMk id="4" creationId="{717081B5-F80A-9FFA-304A-C28F171B0D28}"/>
          </ac:spMkLst>
        </pc:spChg>
      </pc:sldChg>
      <pc:sldChg chg="new del">
        <pc:chgData name="Stephen Bridgman" userId="86e9c7dd-7b77-4652-8027-5efef0dd1d90" providerId="ADAL" clId="{F0808265-950B-4DCF-BEDE-59A503CFA654}" dt="2024-01-19T16:11:19.337" v="1800" actId="680"/>
        <pc:sldMkLst>
          <pc:docMk/>
          <pc:sldMk cId="4275617630" sldId="277"/>
        </pc:sldMkLst>
      </pc:sldChg>
      <pc:sldChg chg="addSp delSp modSp new mod">
        <pc:chgData name="Stephen Bridgman" userId="86e9c7dd-7b77-4652-8027-5efef0dd1d90" providerId="ADAL" clId="{F0808265-950B-4DCF-BEDE-59A503CFA654}" dt="2024-02-06T14:58:26.791" v="5146" actId="255"/>
        <pc:sldMkLst>
          <pc:docMk/>
          <pc:sldMk cId="494728723" sldId="278"/>
        </pc:sldMkLst>
        <pc:spChg chg="mod">
          <ac:chgData name="Stephen Bridgman" userId="86e9c7dd-7b77-4652-8027-5efef0dd1d90" providerId="ADAL" clId="{F0808265-950B-4DCF-BEDE-59A503CFA654}" dt="2024-01-22T14:49:42.643" v="2354" actId="20577"/>
          <ac:spMkLst>
            <pc:docMk/>
            <pc:sldMk cId="494728723" sldId="278"/>
            <ac:spMk id="2" creationId="{E6DCC284-A0A3-0042-9355-743EEFF9BC1B}"/>
          </ac:spMkLst>
        </pc:spChg>
        <pc:spChg chg="mod">
          <ac:chgData name="Stephen Bridgman" userId="86e9c7dd-7b77-4652-8027-5efef0dd1d90" providerId="ADAL" clId="{F0808265-950B-4DCF-BEDE-59A503CFA654}" dt="2024-02-06T14:58:26.791" v="5146" actId="255"/>
          <ac:spMkLst>
            <pc:docMk/>
            <pc:sldMk cId="494728723" sldId="278"/>
            <ac:spMk id="3" creationId="{18FD7273-B41B-3417-8450-EF1198CAE788}"/>
          </ac:spMkLst>
        </pc:spChg>
        <pc:spChg chg="del">
          <ac:chgData name="Stephen Bridgman" userId="86e9c7dd-7b77-4652-8027-5efef0dd1d90" providerId="ADAL" clId="{F0808265-950B-4DCF-BEDE-59A503CFA654}" dt="2024-02-05T13:15:29.977" v="2492" actId="22"/>
          <ac:spMkLst>
            <pc:docMk/>
            <pc:sldMk cId="494728723" sldId="278"/>
            <ac:spMk id="4" creationId="{1075C218-A5AA-CB67-AB62-D992E74EDBF7}"/>
          </ac:spMkLst>
        </pc:spChg>
        <pc:picChg chg="add mod ord">
          <ac:chgData name="Stephen Bridgman" userId="86e9c7dd-7b77-4652-8027-5efef0dd1d90" providerId="ADAL" clId="{F0808265-950B-4DCF-BEDE-59A503CFA654}" dt="2024-02-05T13:15:34.853" v="2494" actId="14100"/>
          <ac:picMkLst>
            <pc:docMk/>
            <pc:sldMk cId="494728723" sldId="278"/>
            <ac:picMk id="6" creationId="{A5D28DA3-2AF0-5FAC-7BB1-778152773B98}"/>
          </ac:picMkLst>
        </pc:picChg>
      </pc:sldChg>
      <pc:sldChg chg="delSp modSp mod">
        <pc:chgData name="Stephen Bridgman" userId="86e9c7dd-7b77-4652-8027-5efef0dd1d90" providerId="ADAL" clId="{F0808265-950B-4DCF-BEDE-59A503CFA654}" dt="2024-02-06T15:01:29.954" v="5168" actId="14100"/>
        <pc:sldMkLst>
          <pc:docMk/>
          <pc:sldMk cId="1222623461" sldId="279"/>
        </pc:sldMkLst>
        <pc:spChg chg="mod">
          <ac:chgData name="Stephen Bridgman" userId="86e9c7dd-7b77-4652-8027-5efef0dd1d90" providerId="ADAL" clId="{F0808265-950B-4DCF-BEDE-59A503CFA654}" dt="2024-02-06T15:01:29.954" v="5168" actId="14100"/>
          <ac:spMkLst>
            <pc:docMk/>
            <pc:sldMk cId="1222623461" sldId="279"/>
            <ac:spMk id="3" creationId="{DA6CCD96-1565-43EC-566B-6D2E5C38D6F4}"/>
          </ac:spMkLst>
        </pc:spChg>
        <pc:graphicFrameChg chg="del">
          <ac:chgData name="Stephen Bridgman" userId="86e9c7dd-7b77-4652-8027-5efef0dd1d90" providerId="ADAL" clId="{F0808265-950B-4DCF-BEDE-59A503CFA654}" dt="2024-02-06T10:32:08.386" v="3837" actId="21"/>
          <ac:graphicFrameMkLst>
            <pc:docMk/>
            <pc:sldMk cId="1222623461" sldId="279"/>
            <ac:graphicFrameMk id="9" creationId="{C3D4BE53-6416-286D-07FF-1A15B4C67F00}"/>
          </ac:graphicFrameMkLst>
        </pc:graphicFrameChg>
      </pc:sldChg>
      <pc:sldChg chg="modSp mod ord">
        <pc:chgData name="Stephen Bridgman" userId="86e9c7dd-7b77-4652-8027-5efef0dd1d90" providerId="ADAL" clId="{F0808265-950B-4DCF-BEDE-59A503CFA654}" dt="2024-02-06T15:03:43.274" v="5257" actId="20577"/>
        <pc:sldMkLst>
          <pc:docMk/>
          <pc:sldMk cId="2038761193" sldId="714"/>
        </pc:sldMkLst>
        <pc:spChg chg="mod">
          <ac:chgData name="Stephen Bridgman" userId="86e9c7dd-7b77-4652-8027-5efef0dd1d90" providerId="ADAL" clId="{F0808265-950B-4DCF-BEDE-59A503CFA654}" dt="2024-02-06T15:03:04.949" v="5236" actId="6549"/>
          <ac:spMkLst>
            <pc:docMk/>
            <pc:sldMk cId="2038761193" sldId="714"/>
            <ac:spMk id="8" creationId="{7FD37BFF-2512-469B-B3A5-6FE0EA09E28C}"/>
          </ac:spMkLst>
        </pc:spChg>
        <pc:graphicFrameChg chg="mod">
          <ac:chgData name="Stephen Bridgman" userId="86e9c7dd-7b77-4652-8027-5efef0dd1d90" providerId="ADAL" clId="{F0808265-950B-4DCF-BEDE-59A503CFA654}" dt="2024-02-06T15:03:43.274" v="5257" actId="20577"/>
          <ac:graphicFrameMkLst>
            <pc:docMk/>
            <pc:sldMk cId="2038761193" sldId="714"/>
            <ac:graphicFrameMk id="3" creationId="{C1F96B8D-4DD5-4067-1F0E-C08ADC1B6DAC}"/>
          </ac:graphicFrameMkLst>
        </pc:graphicFrameChg>
      </pc:sldChg>
      <pc:sldChg chg="modSp mod">
        <pc:chgData name="Stephen Bridgman" userId="86e9c7dd-7b77-4652-8027-5efef0dd1d90" providerId="ADAL" clId="{F0808265-950B-4DCF-BEDE-59A503CFA654}" dt="2024-02-05T12:47:24.562" v="2480" actId="255"/>
        <pc:sldMkLst>
          <pc:docMk/>
          <pc:sldMk cId="3987963050" sldId="793"/>
        </pc:sldMkLst>
        <pc:spChg chg="mod">
          <ac:chgData name="Stephen Bridgman" userId="86e9c7dd-7b77-4652-8027-5efef0dd1d90" providerId="ADAL" clId="{F0808265-950B-4DCF-BEDE-59A503CFA654}" dt="2024-02-05T12:47:24.562" v="2480" actId="255"/>
          <ac:spMkLst>
            <pc:docMk/>
            <pc:sldMk cId="3987963050" sldId="793"/>
            <ac:spMk id="2" creationId="{87872B71-1571-37F1-01C0-07BE561E450D}"/>
          </ac:spMkLst>
        </pc:spChg>
      </pc:sldChg>
      <pc:sldChg chg="addSp delSp modSp mod">
        <pc:chgData name="Stephen Bridgman" userId="86e9c7dd-7b77-4652-8027-5efef0dd1d90" providerId="ADAL" clId="{F0808265-950B-4DCF-BEDE-59A503CFA654}" dt="2024-02-06T15:02:05.741" v="5196" actId="6549"/>
        <pc:sldMkLst>
          <pc:docMk/>
          <pc:sldMk cId="1348620139" sldId="814"/>
        </pc:sldMkLst>
        <pc:spChg chg="mod">
          <ac:chgData name="Stephen Bridgman" userId="86e9c7dd-7b77-4652-8027-5efef0dd1d90" providerId="ADAL" clId="{F0808265-950B-4DCF-BEDE-59A503CFA654}" dt="2024-02-06T15:02:05.741" v="5196" actId="6549"/>
          <ac:spMkLst>
            <pc:docMk/>
            <pc:sldMk cId="1348620139" sldId="814"/>
            <ac:spMk id="2" creationId="{76AECEAD-28D4-F0B6-DA7A-3C5EC1002289}"/>
          </ac:spMkLst>
        </pc:spChg>
        <pc:spChg chg="add del mod">
          <ac:chgData name="Stephen Bridgman" userId="86e9c7dd-7b77-4652-8027-5efef0dd1d90" providerId="ADAL" clId="{F0808265-950B-4DCF-BEDE-59A503CFA654}" dt="2024-02-06T13:43:45.851" v="3965" actId="22"/>
          <ac:spMkLst>
            <pc:docMk/>
            <pc:sldMk cId="1348620139" sldId="814"/>
            <ac:spMk id="5" creationId="{97D367C5-0AD4-178E-B9C9-B7EBBAB37379}"/>
          </ac:spMkLst>
        </pc:spChg>
        <pc:picChg chg="del">
          <ac:chgData name="Stephen Bridgman" userId="86e9c7dd-7b77-4652-8027-5efef0dd1d90" providerId="ADAL" clId="{F0808265-950B-4DCF-BEDE-59A503CFA654}" dt="2024-02-06T13:43:42.626" v="3964" actId="478"/>
          <ac:picMkLst>
            <pc:docMk/>
            <pc:sldMk cId="1348620139" sldId="814"/>
            <ac:picMk id="4" creationId="{91F89B3B-80A8-1798-FBAA-94D6C9E04139}"/>
          </ac:picMkLst>
        </pc:picChg>
        <pc:picChg chg="add mod ord">
          <ac:chgData name="Stephen Bridgman" userId="86e9c7dd-7b77-4652-8027-5efef0dd1d90" providerId="ADAL" clId="{F0808265-950B-4DCF-BEDE-59A503CFA654}" dt="2024-02-06T13:43:54.744" v="3967" actId="14100"/>
          <ac:picMkLst>
            <pc:docMk/>
            <pc:sldMk cId="1348620139" sldId="814"/>
            <ac:picMk id="7" creationId="{DABBF6F8-80AD-8070-76E4-F6AC5E8A0F81}"/>
          </ac:picMkLst>
        </pc:picChg>
      </pc:sldChg>
      <pc:sldChg chg="modSp mod">
        <pc:chgData name="Stephen Bridgman" userId="86e9c7dd-7b77-4652-8027-5efef0dd1d90" providerId="ADAL" clId="{F0808265-950B-4DCF-BEDE-59A503CFA654}" dt="2024-02-06T14:04:14.562" v="5116" actId="20577"/>
        <pc:sldMkLst>
          <pc:docMk/>
          <pc:sldMk cId="769940086" sldId="815"/>
        </pc:sldMkLst>
        <pc:spChg chg="mod">
          <ac:chgData name="Stephen Bridgman" userId="86e9c7dd-7b77-4652-8027-5efef0dd1d90" providerId="ADAL" clId="{F0808265-950B-4DCF-BEDE-59A503CFA654}" dt="2024-02-06T14:04:14.562" v="5116" actId="20577"/>
          <ac:spMkLst>
            <pc:docMk/>
            <pc:sldMk cId="769940086" sldId="815"/>
            <ac:spMk id="3" creationId="{CE289DF8-FB55-AFD2-FE40-C514F5A5E97D}"/>
          </ac:spMkLst>
        </pc:spChg>
      </pc:sldChg>
      <pc:sldChg chg="addSp delSp modSp new mod ord">
        <pc:chgData name="Stephen Bridgman" userId="86e9c7dd-7b77-4652-8027-5efef0dd1d90" providerId="ADAL" clId="{F0808265-950B-4DCF-BEDE-59A503CFA654}" dt="2024-02-06T10:00:42.130" v="3111" actId="14734"/>
        <pc:sldMkLst>
          <pc:docMk/>
          <pc:sldMk cId="54791520" sldId="816"/>
        </pc:sldMkLst>
        <pc:spChg chg="mod">
          <ac:chgData name="Stephen Bridgman" userId="86e9c7dd-7b77-4652-8027-5efef0dd1d90" providerId="ADAL" clId="{F0808265-950B-4DCF-BEDE-59A503CFA654}" dt="2024-02-05T12:41:39.038" v="2472" actId="1076"/>
          <ac:spMkLst>
            <pc:docMk/>
            <pc:sldMk cId="54791520" sldId="816"/>
            <ac:spMk id="2" creationId="{7C5B368D-94B7-4339-97CD-EC381D8A6A98}"/>
          </ac:spMkLst>
        </pc:spChg>
        <pc:spChg chg="del">
          <ac:chgData name="Stephen Bridgman" userId="86e9c7dd-7b77-4652-8027-5efef0dd1d90" providerId="ADAL" clId="{F0808265-950B-4DCF-BEDE-59A503CFA654}" dt="2024-02-05T12:39:52.413" v="2400"/>
          <ac:spMkLst>
            <pc:docMk/>
            <pc:sldMk cId="54791520" sldId="816"/>
            <ac:spMk id="3" creationId="{9FE035ED-A53F-B43B-AAA2-663FDCC456F1}"/>
          </ac:spMkLst>
        </pc:spChg>
        <pc:spChg chg="add">
          <ac:chgData name="Stephen Bridgman" userId="86e9c7dd-7b77-4652-8027-5efef0dd1d90" providerId="ADAL" clId="{F0808265-950B-4DCF-BEDE-59A503CFA654}" dt="2024-02-05T12:39:52.413" v="2400"/>
          <ac:spMkLst>
            <pc:docMk/>
            <pc:sldMk cId="54791520" sldId="816"/>
            <ac:spMk id="5" creationId="{5FD51E2E-019E-47E0-8B81-A137C29ADBBB}"/>
          </ac:spMkLst>
        </pc:spChg>
        <pc:spChg chg="add del mod">
          <ac:chgData name="Stephen Bridgman" userId="86e9c7dd-7b77-4652-8027-5efef0dd1d90" providerId="ADAL" clId="{F0808265-950B-4DCF-BEDE-59A503CFA654}" dt="2024-02-05T12:40:55.322" v="2410"/>
          <ac:spMkLst>
            <pc:docMk/>
            <pc:sldMk cId="54791520" sldId="816"/>
            <ac:spMk id="7" creationId="{4833FF1C-AAB8-1DCF-D4D8-6AB359454B8E}"/>
          </ac:spMkLst>
        </pc:spChg>
        <pc:graphicFrameChg chg="add del mod modGraphic">
          <ac:chgData name="Stephen Bridgman" userId="86e9c7dd-7b77-4652-8027-5efef0dd1d90" providerId="ADAL" clId="{F0808265-950B-4DCF-BEDE-59A503CFA654}" dt="2024-02-05T12:40:52.563" v="2409" actId="478"/>
          <ac:graphicFrameMkLst>
            <pc:docMk/>
            <pc:sldMk cId="54791520" sldId="816"/>
            <ac:graphicFrameMk id="4" creationId="{C2282223-DBBB-2CB9-BE3B-39F546473779}"/>
          </ac:graphicFrameMkLst>
        </pc:graphicFrameChg>
        <pc:graphicFrameChg chg="add mod modGraphic">
          <ac:chgData name="Stephen Bridgman" userId="86e9c7dd-7b77-4652-8027-5efef0dd1d90" providerId="ADAL" clId="{F0808265-950B-4DCF-BEDE-59A503CFA654}" dt="2024-02-06T10:00:42.130" v="3111" actId="14734"/>
          <ac:graphicFrameMkLst>
            <pc:docMk/>
            <pc:sldMk cId="54791520" sldId="816"/>
            <ac:graphicFrameMk id="8" creationId="{A847630F-B5A0-62F8-C900-EC1A0B0596E9}"/>
          </ac:graphicFrameMkLst>
        </pc:graphicFrameChg>
      </pc:sldChg>
      <pc:sldChg chg="modSp new del mod">
        <pc:chgData name="Stephen Bridgman" userId="86e9c7dd-7b77-4652-8027-5efef0dd1d90" providerId="ADAL" clId="{F0808265-950B-4DCF-BEDE-59A503CFA654}" dt="2024-02-05T11:34:08.422" v="2398" actId="2696"/>
        <pc:sldMkLst>
          <pc:docMk/>
          <pc:sldMk cId="3798599673" sldId="816"/>
        </pc:sldMkLst>
        <pc:spChg chg="mod">
          <ac:chgData name="Stephen Bridgman" userId="86e9c7dd-7b77-4652-8027-5efef0dd1d90" providerId="ADAL" clId="{F0808265-950B-4DCF-BEDE-59A503CFA654}" dt="2024-02-05T11:34:04.268" v="2397" actId="14100"/>
          <ac:spMkLst>
            <pc:docMk/>
            <pc:sldMk cId="3798599673" sldId="816"/>
            <ac:spMk id="4" creationId="{7C029B82-FDF5-BEFC-5F9D-68D4CFA90BF9}"/>
          </ac:spMkLst>
        </pc:spChg>
      </pc:sldChg>
      <pc:sldChg chg="new del">
        <pc:chgData name="Stephen Bridgman" userId="86e9c7dd-7b77-4652-8027-5efef0dd1d90" providerId="ADAL" clId="{F0808265-950B-4DCF-BEDE-59A503CFA654}" dt="2024-02-06T14:03:20.840" v="4994" actId="2696"/>
        <pc:sldMkLst>
          <pc:docMk/>
          <pc:sldMk cId="737829996" sldId="817"/>
        </pc:sldMkLst>
      </pc:sldChg>
      <pc:sldChg chg="addSp delSp modSp new del">
        <pc:chgData name="Stephen Bridgman" userId="86e9c7dd-7b77-4652-8027-5efef0dd1d90" providerId="ADAL" clId="{F0808265-950B-4DCF-BEDE-59A503CFA654}" dt="2024-02-06T14:03:27.130" v="4995" actId="2696"/>
        <pc:sldMkLst>
          <pc:docMk/>
          <pc:sldMk cId="598604236" sldId="818"/>
        </pc:sldMkLst>
        <pc:spChg chg="del">
          <ac:chgData name="Stephen Bridgman" userId="86e9c7dd-7b77-4652-8027-5efef0dd1d90" providerId="ADAL" clId="{F0808265-950B-4DCF-BEDE-59A503CFA654}" dt="2024-02-06T10:32:30.197" v="3840"/>
          <ac:spMkLst>
            <pc:docMk/>
            <pc:sldMk cId="598604236" sldId="818"/>
            <ac:spMk id="3" creationId="{BAB975E7-7661-0167-9819-984C181DFD36}"/>
          </ac:spMkLst>
        </pc:spChg>
        <pc:graphicFrameChg chg="add mod">
          <ac:chgData name="Stephen Bridgman" userId="86e9c7dd-7b77-4652-8027-5efef0dd1d90" providerId="ADAL" clId="{F0808265-950B-4DCF-BEDE-59A503CFA654}" dt="2024-02-06T10:32:30.197" v="3840"/>
          <ac:graphicFrameMkLst>
            <pc:docMk/>
            <pc:sldMk cId="598604236" sldId="818"/>
            <ac:graphicFrameMk id="4" creationId="{75974B06-DC7A-2D96-9AA8-01CDFE5E128D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https://scottish-my.sharepoint.com/personal/sandra_storrie_phs_scot/Documents/UI_Home_2013-23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isdsf00d03\UnscheduledCare4\Topics\Acute%20hospital%20admissions%20&amp;%20deaths%20due%20to%20injuries\Publications\Unintentional%20Injuries\20231010\UI_Table1a_Admissions_2023-10-10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stats\UnscheduledCare1\Portfolio\IRs-FOIs-PQs\2024\Stephen-Bridgman-Extract\Stephen-Bridgman-Extract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74-4BE3-838A-E94D4A659361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474-4BE3-838A-E94D4A659361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474-4BE3-838A-E94D4A659361}"/>
              </c:ext>
            </c:extLst>
          </c:dPt>
          <c:dLbls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:$A$3</c:f>
              <c:strCache>
                <c:ptCount val="3"/>
                <c:pt idx="0">
                  <c:v>Home</c:v>
                </c:pt>
                <c:pt idx="1">
                  <c:v>Other</c:v>
                </c:pt>
                <c:pt idx="2">
                  <c:v>Unknown</c:v>
                </c:pt>
              </c:strCache>
            </c:strRef>
          </c:cat>
          <c:val>
            <c:numRef>
              <c:f>Sheet1!$B$1:$B$3</c:f>
              <c:numCache>
                <c:formatCode>General</c:formatCode>
                <c:ptCount val="3"/>
                <c:pt idx="0">
                  <c:v>16385</c:v>
                </c:pt>
                <c:pt idx="1">
                  <c:v>7321</c:v>
                </c:pt>
                <c:pt idx="2">
                  <c:v>12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474-4BE3-838A-E94D4A659361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GB"/>
              <a:t>Unintentional Injuries in the Home, 0-4 yea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UI Age&amp;Sex Home'!$C$49</c:f>
              <c:strCache>
                <c:ptCount val="1"/>
                <c:pt idx="0">
                  <c:v>Fem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UI Age&amp;Sex Home'!$B$50:$B$62</c:f>
              <c:strCache>
                <c:ptCount val="13"/>
                <c:pt idx="0">
                  <c:v>2010/11</c:v>
                </c:pt>
                <c:pt idx="1">
                  <c:v>2011/12</c:v>
                </c:pt>
                <c:pt idx="2">
                  <c:v>2012/13</c:v>
                </c:pt>
                <c:pt idx="3">
                  <c:v>2013/14</c:v>
                </c:pt>
                <c:pt idx="4">
                  <c:v>2014/15</c:v>
                </c:pt>
                <c:pt idx="5">
                  <c:v>2015/16</c:v>
                </c:pt>
                <c:pt idx="6">
                  <c:v>2016/17</c:v>
                </c:pt>
                <c:pt idx="7">
                  <c:v>2017/18</c:v>
                </c:pt>
                <c:pt idx="8">
                  <c:v>2018/19</c:v>
                </c:pt>
                <c:pt idx="9">
                  <c:v>2019/20</c:v>
                </c:pt>
                <c:pt idx="10">
                  <c:v>2020/21</c:v>
                </c:pt>
                <c:pt idx="11">
                  <c:v>2021/22</c:v>
                </c:pt>
                <c:pt idx="12">
                  <c:v>2022/23</c:v>
                </c:pt>
              </c:strCache>
            </c:strRef>
          </c:cat>
          <c:val>
            <c:numRef>
              <c:f>'UI Age&amp;Sex Home'!$C$50:$C$62</c:f>
              <c:numCache>
                <c:formatCode>General</c:formatCode>
                <c:ptCount val="13"/>
                <c:pt idx="0">
                  <c:v>802</c:v>
                </c:pt>
                <c:pt idx="1">
                  <c:v>844</c:v>
                </c:pt>
                <c:pt idx="2">
                  <c:v>882</c:v>
                </c:pt>
                <c:pt idx="3">
                  <c:v>929</c:v>
                </c:pt>
                <c:pt idx="4">
                  <c:v>927</c:v>
                </c:pt>
                <c:pt idx="5">
                  <c:v>805</c:v>
                </c:pt>
                <c:pt idx="6">
                  <c:v>745</c:v>
                </c:pt>
                <c:pt idx="7">
                  <c:v>700</c:v>
                </c:pt>
                <c:pt idx="8">
                  <c:v>600</c:v>
                </c:pt>
                <c:pt idx="9">
                  <c:v>726</c:v>
                </c:pt>
                <c:pt idx="10">
                  <c:v>792</c:v>
                </c:pt>
                <c:pt idx="11">
                  <c:v>585</c:v>
                </c:pt>
                <c:pt idx="12">
                  <c:v>5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FF-4C78-8790-9DA7EA4EDB81}"/>
            </c:ext>
          </c:extLst>
        </c:ser>
        <c:ser>
          <c:idx val="1"/>
          <c:order val="1"/>
          <c:tx>
            <c:strRef>
              <c:f>'UI Age&amp;Sex Home'!$D$49</c:f>
              <c:strCache>
                <c:ptCount val="1"/>
                <c:pt idx="0">
                  <c:v>M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UI Age&amp;Sex Home'!$B$50:$B$62</c:f>
              <c:strCache>
                <c:ptCount val="13"/>
                <c:pt idx="0">
                  <c:v>2010/11</c:v>
                </c:pt>
                <c:pt idx="1">
                  <c:v>2011/12</c:v>
                </c:pt>
                <c:pt idx="2">
                  <c:v>2012/13</c:v>
                </c:pt>
                <c:pt idx="3">
                  <c:v>2013/14</c:v>
                </c:pt>
                <c:pt idx="4">
                  <c:v>2014/15</c:v>
                </c:pt>
                <c:pt idx="5">
                  <c:v>2015/16</c:v>
                </c:pt>
                <c:pt idx="6">
                  <c:v>2016/17</c:v>
                </c:pt>
                <c:pt idx="7">
                  <c:v>2017/18</c:v>
                </c:pt>
                <c:pt idx="8">
                  <c:v>2018/19</c:v>
                </c:pt>
                <c:pt idx="9">
                  <c:v>2019/20</c:v>
                </c:pt>
                <c:pt idx="10">
                  <c:v>2020/21</c:v>
                </c:pt>
                <c:pt idx="11">
                  <c:v>2021/22</c:v>
                </c:pt>
                <c:pt idx="12">
                  <c:v>2022/23</c:v>
                </c:pt>
              </c:strCache>
            </c:strRef>
          </c:cat>
          <c:val>
            <c:numRef>
              <c:f>'UI Age&amp;Sex Home'!$D$50:$D$62</c:f>
              <c:numCache>
                <c:formatCode>General</c:formatCode>
                <c:ptCount val="13"/>
                <c:pt idx="0">
                  <c:v>1087</c:v>
                </c:pt>
                <c:pt idx="1">
                  <c:v>1148</c:v>
                </c:pt>
                <c:pt idx="2">
                  <c:v>1084</c:v>
                </c:pt>
                <c:pt idx="3">
                  <c:v>1200</c:v>
                </c:pt>
                <c:pt idx="4">
                  <c:v>1173</c:v>
                </c:pt>
                <c:pt idx="5">
                  <c:v>1017</c:v>
                </c:pt>
                <c:pt idx="6">
                  <c:v>898</c:v>
                </c:pt>
                <c:pt idx="7">
                  <c:v>917</c:v>
                </c:pt>
                <c:pt idx="8">
                  <c:v>826</c:v>
                </c:pt>
                <c:pt idx="9">
                  <c:v>935</c:v>
                </c:pt>
                <c:pt idx="10">
                  <c:v>1038</c:v>
                </c:pt>
                <c:pt idx="11">
                  <c:v>815</c:v>
                </c:pt>
                <c:pt idx="12">
                  <c:v>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FF-4C78-8790-9DA7EA4EDB81}"/>
            </c:ext>
          </c:extLst>
        </c:ser>
        <c:ser>
          <c:idx val="2"/>
          <c:order val="2"/>
          <c:tx>
            <c:strRef>
              <c:f>'UI Age&amp;Sex Home'!$E$49</c:f>
              <c:strCache>
                <c:ptCount val="1"/>
                <c:pt idx="0">
                  <c:v>Both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UI Age&amp;Sex Home'!$B$50:$B$62</c:f>
              <c:strCache>
                <c:ptCount val="13"/>
                <c:pt idx="0">
                  <c:v>2010/11</c:v>
                </c:pt>
                <c:pt idx="1">
                  <c:v>2011/12</c:v>
                </c:pt>
                <c:pt idx="2">
                  <c:v>2012/13</c:v>
                </c:pt>
                <c:pt idx="3">
                  <c:v>2013/14</c:v>
                </c:pt>
                <c:pt idx="4">
                  <c:v>2014/15</c:v>
                </c:pt>
                <c:pt idx="5">
                  <c:v>2015/16</c:v>
                </c:pt>
                <c:pt idx="6">
                  <c:v>2016/17</c:v>
                </c:pt>
                <c:pt idx="7">
                  <c:v>2017/18</c:v>
                </c:pt>
                <c:pt idx="8">
                  <c:v>2018/19</c:v>
                </c:pt>
                <c:pt idx="9">
                  <c:v>2019/20</c:v>
                </c:pt>
                <c:pt idx="10">
                  <c:v>2020/21</c:v>
                </c:pt>
                <c:pt idx="11">
                  <c:v>2021/22</c:v>
                </c:pt>
                <c:pt idx="12">
                  <c:v>2022/23</c:v>
                </c:pt>
              </c:strCache>
            </c:strRef>
          </c:cat>
          <c:val>
            <c:numRef>
              <c:f>'UI Age&amp;Sex Home'!$E$50:$E$62</c:f>
              <c:numCache>
                <c:formatCode>General</c:formatCode>
                <c:ptCount val="13"/>
                <c:pt idx="0">
                  <c:v>1889</c:v>
                </c:pt>
                <c:pt idx="1">
                  <c:v>1992</c:v>
                </c:pt>
                <c:pt idx="2">
                  <c:v>1966</c:v>
                </c:pt>
                <c:pt idx="3">
                  <c:v>2129</c:v>
                </c:pt>
                <c:pt idx="4">
                  <c:v>2100</c:v>
                </c:pt>
                <c:pt idx="5">
                  <c:v>1822</c:v>
                </c:pt>
                <c:pt idx="6">
                  <c:v>1643</c:v>
                </c:pt>
                <c:pt idx="7">
                  <c:v>1617</c:v>
                </c:pt>
                <c:pt idx="8">
                  <c:v>1426</c:v>
                </c:pt>
                <c:pt idx="9">
                  <c:v>1661</c:v>
                </c:pt>
                <c:pt idx="10">
                  <c:v>1830</c:v>
                </c:pt>
                <c:pt idx="11">
                  <c:v>1400</c:v>
                </c:pt>
                <c:pt idx="12">
                  <c:v>13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FF-4C78-8790-9DA7EA4EDB8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51255904"/>
        <c:axId val="651407024"/>
      </c:lineChart>
      <c:catAx>
        <c:axId val="651255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51407024"/>
        <c:crosses val="autoZero"/>
        <c:auto val="1"/>
        <c:lblAlgn val="ctr"/>
        <c:lblOffset val="100"/>
        <c:noMultiLvlLbl val="0"/>
      </c:catAx>
      <c:valAx>
        <c:axId val="651407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51255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GB"/>
              <a:t>Unintentional Injuries in the Home, 75+ yea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UI Age&amp;Sex Home'!$C$68</c:f>
              <c:strCache>
                <c:ptCount val="1"/>
                <c:pt idx="0">
                  <c:v>Femal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UI Age&amp;Sex Home'!$B$69:$B$81</c:f>
              <c:strCache>
                <c:ptCount val="13"/>
                <c:pt idx="0">
                  <c:v>2010/11</c:v>
                </c:pt>
                <c:pt idx="1">
                  <c:v>2011/12</c:v>
                </c:pt>
                <c:pt idx="2">
                  <c:v>2012/13</c:v>
                </c:pt>
                <c:pt idx="3">
                  <c:v>2013/14</c:v>
                </c:pt>
                <c:pt idx="4">
                  <c:v>2014/15</c:v>
                </c:pt>
                <c:pt idx="5">
                  <c:v>2015/16</c:v>
                </c:pt>
                <c:pt idx="6">
                  <c:v>2016/17</c:v>
                </c:pt>
                <c:pt idx="7">
                  <c:v>2017/18</c:v>
                </c:pt>
                <c:pt idx="8">
                  <c:v>2018/19</c:v>
                </c:pt>
                <c:pt idx="9">
                  <c:v>2019/20</c:v>
                </c:pt>
                <c:pt idx="10">
                  <c:v>2020/21</c:v>
                </c:pt>
                <c:pt idx="11">
                  <c:v>2021/22</c:v>
                </c:pt>
                <c:pt idx="12">
                  <c:v>2022/23</c:v>
                </c:pt>
              </c:strCache>
            </c:strRef>
          </c:cat>
          <c:val>
            <c:numRef>
              <c:f>'UI Age&amp;Sex Home'!$C$69:$C$81</c:f>
              <c:numCache>
                <c:formatCode>General</c:formatCode>
                <c:ptCount val="13"/>
                <c:pt idx="0">
                  <c:v>5465</c:v>
                </c:pt>
                <c:pt idx="1">
                  <c:v>5715</c:v>
                </c:pt>
                <c:pt idx="2">
                  <c:v>6414</c:v>
                </c:pt>
                <c:pt idx="3">
                  <c:v>6349</c:v>
                </c:pt>
                <c:pt idx="4">
                  <c:v>6424</c:v>
                </c:pt>
                <c:pt idx="5">
                  <c:v>6720</c:v>
                </c:pt>
                <c:pt idx="6">
                  <c:v>6749</c:v>
                </c:pt>
                <c:pt idx="7">
                  <c:v>6900</c:v>
                </c:pt>
                <c:pt idx="8">
                  <c:v>7272</c:v>
                </c:pt>
                <c:pt idx="9">
                  <c:v>7523</c:v>
                </c:pt>
                <c:pt idx="10">
                  <c:v>8054</c:v>
                </c:pt>
                <c:pt idx="11">
                  <c:v>8075</c:v>
                </c:pt>
                <c:pt idx="12">
                  <c:v>76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6B9-4297-B61F-0200E56B1F81}"/>
            </c:ext>
          </c:extLst>
        </c:ser>
        <c:ser>
          <c:idx val="1"/>
          <c:order val="1"/>
          <c:tx>
            <c:strRef>
              <c:f>'UI Age&amp;Sex Home'!$D$68</c:f>
              <c:strCache>
                <c:ptCount val="1"/>
                <c:pt idx="0">
                  <c:v>Male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UI Age&amp;Sex Home'!$B$69:$B$81</c:f>
              <c:strCache>
                <c:ptCount val="13"/>
                <c:pt idx="0">
                  <c:v>2010/11</c:v>
                </c:pt>
                <c:pt idx="1">
                  <c:v>2011/12</c:v>
                </c:pt>
                <c:pt idx="2">
                  <c:v>2012/13</c:v>
                </c:pt>
                <c:pt idx="3">
                  <c:v>2013/14</c:v>
                </c:pt>
                <c:pt idx="4">
                  <c:v>2014/15</c:v>
                </c:pt>
                <c:pt idx="5">
                  <c:v>2015/16</c:v>
                </c:pt>
                <c:pt idx="6">
                  <c:v>2016/17</c:v>
                </c:pt>
                <c:pt idx="7">
                  <c:v>2017/18</c:v>
                </c:pt>
                <c:pt idx="8">
                  <c:v>2018/19</c:v>
                </c:pt>
                <c:pt idx="9">
                  <c:v>2019/20</c:v>
                </c:pt>
                <c:pt idx="10">
                  <c:v>2020/21</c:v>
                </c:pt>
                <c:pt idx="11">
                  <c:v>2021/22</c:v>
                </c:pt>
                <c:pt idx="12">
                  <c:v>2022/23</c:v>
                </c:pt>
              </c:strCache>
            </c:strRef>
          </c:cat>
          <c:val>
            <c:numRef>
              <c:f>'UI Age&amp;Sex Home'!$D$69:$D$81</c:f>
              <c:numCache>
                <c:formatCode>General</c:formatCode>
                <c:ptCount val="13"/>
                <c:pt idx="0">
                  <c:v>1767</c:v>
                </c:pt>
                <c:pt idx="1">
                  <c:v>1871</c:v>
                </c:pt>
                <c:pt idx="2">
                  <c:v>2087</c:v>
                </c:pt>
                <c:pt idx="3">
                  <c:v>2142</c:v>
                </c:pt>
                <c:pt idx="4">
                  <c:v>2337</c:v>
                </c:pt>
                <c:pt idx="5">
                  <c:v>2426</c:v>
                </c:pt>
                <c:pt idx="6">
                  <c:v>2640</c:v>
                </c:pt>
                <c:pt idx="7">
                  <c:v>2825</c:v>
                </c:pt>
                <c:pt idx="8">
                  <c:v>2880</c:v>
                </c:pt>
                <c:pt idx="9">
                  <c:v>2977</c:v>
                </c:pt>
                <c:pt idx="10">
                  <c:v>3225</c:v>
                </c:pt>
                <c:pt idx="11">
                  <c:v>3280</c:v>
                </c:pt>
                <c:pt idx="12">
                  <c:v>33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6B9-4297-B61F-0200E56B1F81}"/>
            </c:ext>
          </c:extLst>
        </c:ser>
        <c:ser>
          <c:idx val="2"/>
          <c:order val="2"/>
          <c:tx>
            <c:strRef>
              <c:f>'UI Age&amp;Sex Home'!$E$68</c:f>
              <c:strCache>
                <c:ptCount val="1"/>
                <c:pt idx="0">
                  <c:v>Both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UI Age&amp;Sex Home'!$B$69:$B$81</c:f>
              <c:strCache>
                <c:ptCount val="13"/>
                <c:pt idx="0">
                  <c:v>2010/11</c:v>
                </c:pt>
                <c:pt idx="1">
                  <c:v>2011/12</c:v>
                </c:pt>
                <c:pt idx="2">
                  <c:v>2012/13</c:v>
                </c:pt>
                <c:pt idx="3">
                  <c:v>2013/14</c:v>
                </c:pt>
                <c:pt idx="4">
                  <c:v>2014/15</c:v>
                </c:pt>
                <c:pt idx="5">
                  <c:v>2015/16</c:v>
                </c:pt>
                <c:pt idx="6">
                  <c:v>2016/17</c:v>
                </c:pt>
                <c:pt idx="7">
                  <c:v>2017/18</c:v>
                </c:pt>
                <c:pt idx="8">
                  <c:v>2018/19</c:v>
                </c:pt>
                <c:pt idx="9">
                  <c:v>2019/20</c:v>
                </c:pt>
                <c:pt idx="10">
                  <c:v>2020/21</c:v>
                </c:pt>
                <c:pt idx="11">
                  <c:v>2021/22</c:v>
                </c:pt>
                <c:pt idx="12">
                  <c:v>2022/23</c:v>
                </c:pt>
              </c:strCache>
            </c:strRef>
          </c:cat>
          <c:val>
            <c:numRef>
              <c:f>'UI Age&amp;Sex Home'!$E$69:$E$81</c:f>
              <c:numCache>
                <c:formatCode>General</c:formatCode>
                <c:ptCount val="13"/>
                <c:pt idx="0">
                  <c:v>7232</c:v>
                </c:pt>
                <c:pt idx="1">
                  <c:v>7586</c:v>
                </c:pt>
                <c:pt idx="2">
                  <c:v>8501</c:v>
                </c:pt>
                <c:pt idx="3">
                  <c:v>8491</c:v>
                </c:pt>
                <c:pt idx="4">
                  <c:v>8761</c:v>
                </c:pt>
                <c:pt idx="5">
                  <c:v>9146</c:v>
                </c:pt>
                <c:pt idx="6">
                  <c:v>9389</c:v>
                </c:pt>
                <c:pt idx="7">
                  <c:v>9725</c:v>
                </c:pt>
                <c:pt idx="8">
                  <c:v>10152</c:v>
                </c:pt>
                <c:pt idx="9">
                  <c:v>10500</c:v>
                </c:pt>
                <c:pt idx="10">
                  <c:v>11279</c:v>
                </c:pt>
                <c:pt idx="11">
                  <c:v>11355</c:v>
                </c:pt>
                <c:pt idx="12">
                  <c:v>109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6B9-4297-B61F-0200E56B1F8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51255904"/>
        <c:axId val="651407024"/>
      </c:lineChart>
      <c:catAx>
        <c:axId val="651255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51407024"/>
        <c:crosses val="autoZero"/>
        <c:auto val="1"/>
        <c:lblAlgn val="ctr"/>
        <c:lblOffset val="100"/>
        <c:noMultiLvlLbl val="0"/>
      </c:catAx>
      <c:valAx>
        <c:axId val="651407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51255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GB"/>
              <a:t>Main Diagnoses of Unintentional Injuries in the Hom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901194415915402E-2"/>
          <c:y val="9.9855627700746463E-2"/>
          <c:w val="0.93011849062345464"/>
          <c:h val="0.6858826963142346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Diagnoses!$D$123</c:f>
              <c:strCache>
                <c:ptCount val="1"/>
                <c:pt idx="0">
                  <c:v>rat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Diagnoses!$B$124:$C$134</c:f>
              <c:multiLvlStrCache>
                <c:ptCount val="11"/>
                <c:lvl>
                  <c:pt idx="0">
                    <c:v>S72</c:v>
                  </c:pt>
                  <c:pt idx="1">
                    <c:v>S82</c:v>
                  </c:pt>
                  <c:pt idx="2">
                    <c:v>S42</c:v>
                  </c:pt>
                  <c:pt idx="3">
                    <c:v>S32</c:v>
                  </c:pt>
                  <c:pt idx="4">
                    <c:v>S01</c:v>
                  </c:pt>
                  <c:pt idx="5">
                    <c:v>S09</c:v>
                  </c:pt>
                  <c:pt idx="6">
                    <c:v>S52</c:v>
                  </c:pt>
                  <c:pt idx="7">
                    <c:v>S22</c:v>
                  </c:pt>
                  <c:pt idx="8">
                    <c:v>S00</c:v>
                  </c:pt>
                  <c:pt idx="9">
                    <c:v>S06</c:v>
                  </c:pt>
                  <c:pt idx="10">
                    <c:v>Other</c:v>
                  </c:pt>
                </c:lvl>
                <c:lvl>
                  <c:pt idx="0">
                    <c:v>Fracture of Femur</c:v>
                  </c:pt>
                  <c:pt idx="1">
                    <c:v>Fracture of Lower Leg, Including Ankle</c:v>
                  </c:pt>
                  <c:pt idx="2">
                    <c:v>Fracture of Shoulder and Upper Arm</c:v>
                  </c:pt>
                  <c:pt idx="3">
                    <c:v>Fracture of Lumbar Spine and Pelvis</c:v>
                  </c:pt>
                  <c:pt idx="4">
                    <c:v>Open Wound of Head</c:v>
                  </c:pt>
                  <c:pt idx="5">
                    <c:v>Other and Unspecified Injuries of Head</c:v>
                  </c:pt>
                  <c:pt idx="6">
                    <c:v>Fracture of Forearm</c:v>
                  </c:pt>
                  <c:pt idx="7">
                    <c:v>Fracture of Rib(s), Sternum and Thoracic Spine</c:v>
                  </c:pt>
                  <c:pt idx="8">
                    <c:v>Superficial Injury of Head</c:v>
                  </c:pt>
                  <c:pt idx="9">
                    <c:v>Intracranial Injury</c:v>
                  </c:pt>
                  <c:pt idx="10">
                    <c:v>Other</c:v>
                  </c:pt>
                </c:lvl>
              </c:multiLvlStrCache>
            </c:multiLvlStrRef>
          </c:cat>
          <c:val>
            <c:numRef>
              <c:f>Diagnoses!$D$124:$D$134</c:f>
              <c:numCache>
                <c:formatCode>0.0</c:formatCode>
                <c:ptCount val="11"/>
                <c:pt idx="0">
                  <c:v>77.099947079326199</c:v>
                </c:pt>
                <c:pt idx="1">
                  <c:v>25.949378638296299</c:v>
                </c:pt>
                <c:pt idx="2">
                  <c:v>23.869048705268298</c:v>
                </c:pt>
                <c:pt idx="3">
                  <c:v>21.989452362269301</c:v>
                </c:pt>
                <c:pt idx="4">
                  <c:v>19.306921659154298</c:v>
                </c:pt>
                <c:pt idx="5">
                  <c:v>18.850708954542899</c:v>
                </c:pt>
                <c:pt idx="6">
                  <c:v>17.6280589061844</c:v>
                </c:pt>
                <c:pt idx="7">
                  <c:v>16.478402890563601</c:v>
                </c:pt>
                <c:pt idx="8">
                  <c:v>14.726546104855901</c:v>
                </c:pt>
                <c:pt idx="9">
                  <c:v>10.2739101078486</c:v>
                </c:pt>
                <c:pt idx="10">
                  <c:v>120.91461523020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81-41FC-B853-98DB32D9AB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51255904"/>
        <c:axId val="651407024"/>
      </c:barChart>
      <c:catAx>
        <c:axId val="651255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51407024"/>
        <c:crosses val="autoZero"/>
        <c:auto val="1"/>
        <c:lblAlgn val="ctr"/>
        <c:lblOffset val="100"/>
        <c:noMultiLvlLbl val="0"/>
      </c:catAx>
      <c:valAx>
        <c:axId val="651407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5125590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cap="none" spc="5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pPr>
            <a:r>
              <a:rPr lang="en-GB"/>
              <a:t>Dog</a:t>
            </a:r>
            <a:r>
              <a:rPr lang="en-GB" baseline="0"/>
              <a:t> Injuries</a:t>
            </a:r>
            <a:r>
              <a:rPr lang="en-GB"/>
              <a:t> in the Hom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cap="none" spc="50" normalizeH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'Dog bites'!$E$1</c:f>
              <c:strCache>
                <c:ptCount val="1"/>
                <c:pt idx="0">
                  <c:v>No of (CIS)Continuous Stays(SMR01)</c:v>
                </c:pt>
              </c:strCache>
            </c:strRef>
          </c:tx>
          <c:spPr>
            <a:solidFill>
              <a:schemeClr val="accent6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Dog bites'!$A$2:$A$118</c:f>
              <c:strCache>
                <c:ptCount val="10"/>
                <c:pt idx="0">
                  <c:v>2013/2014</c:v>
                </c:pt>
                <c:pt idx="1">
                  <c:v>2014/2015</c:v>
                </c:pt>
                <c:pt idx="2">
                  <c:v>2015/2016</c:v>
                </c:pt>
                <c:pt idx="3">
                  <c:v>2016/2017</c:v>
                </c:pt>
                <c:pt idx="4">
                  <c:v>2017/2018</c:v>
                </c:pt>
                <c:pt idx="5">
                  <c:v>2018/2019</c:v>
                </c:pt>
                <c:pt idx="6">
                  <c:v>2019/2020</c:v>
                </c:pt>
                <c:pt idx="7">
                  <c:v>2020/2021</c:v>
                </c:pt>
                <c:pt idx="8">
                  <c:v>2021/2022</c:v>
                </c:pt>
                <c:pt idx="9">
                  <c:v>2022/2023</c:v>
                </c:pt>
              </c:strCache>
            </c:strRef>
          </c:cat>
          <c:val>
            <c:numRef>
              <c:f>'Dog bites'!$E$2:$E$118</c:f>
              <c:numCache>
                <c:formatCode>0</c:formatCode>
                <c:ptCount val="10"/>
                <c:pt idx="0">
                  <c:v>144</c:v>
                </c:pt>
                <c:pt idx="1">
                  <c:v>150</c:v>
                </c:pt>
                <c:pt idx="2">
                  <c:v>140</c:v>
                </c:pt>
                <c:pt idx="3">
                  <c:v>149</c:v>
                </c:pt>
                <c:pt idx="4">
                  <c:v>144</c:v>
                </c:pt>
                <c:pt idx="5">
                  <c:v>145</c:v>
                </c:pt>
                <c:pt idx="6">
                  <c:v>142</c:v>
                </c:pt>
                <c:pt idx="7">
                  <c:v>178</c:v>
                </c:pt>
                <c:pt idx="8">
                  <c:v>194</c:v>
                </c:pt>
                <c:pt idx="9">
                  <c:v>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CC-4A6E-94E5-5F13A7EDCC0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25"/>
        <c:axId val="651255904"/>
        <c:axId val="651407024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Dog bites'!$C$1</c15:sqref>
                        </c15:formulaRef>
                      </c:ext>
                    </c:extLst>
                    <c:strCache>
                      <c:ptCount val="1"/>
                      <c:pt idx="0">
                        <c:v>Number of Patients(SMR01)</c:v>
                      </c:pt>
                    </c:strCache>
                  </c:strRef>
                </c:tx>
                <c:spPr>
                  <a:solidFill>
                    <a:schemeClr val="accent2">
                      <a:alpha val="7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'Dog bites'!$A$2:$A$118</c15:sqref>
                        </c15:formulaRef>
                      </c:ext>
                    </c:extLst>
                    <c:strCache>
                      <c:ptCount val="10"/>
                      <c:pt idx="0">
                        <c:v>2013/2014</c:v>
                      </c:pt>
                      <c:pt idx="1">
                        <c:v>2014/2015</c:v>
                      </c:pt>
                      <c:pt idx="2">
                        <c:v>2015/2016</c:v>
                      </c:pt>
                      <c:pt idx="3">
                        <c:v>2016/2017</c:v>
                      </c:pt>
                      <c:pt idx="4">
                        <c:v>2017/2018</c:v>
                      </c:pt>
                      <c:pt idx="5">
                        <c:v>2018/2019</c:v>
                      </c:pt>
                      <c:pt idx="6">
                        <c:v>2019/2020</c:v>
                      </c:pt>
                      <c:pt idx="7">
                        <c:v>2020/2021</c:v>
                      </c:pt>
                      <c:pt idx="8">
                        <c:v>2021/2022</c:v>
                      </c:pt>
                      <c:pt idx="9">
                        <c:v>2022/2023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Dog bites'!$C$2:$C$118</c15:sqref>
                        </c15:formulaRef>
                      </c:ext>
                    </c:extLst>
                    <c:numCache>
                      <c:formatCode>0</c:formatCode>
                      <c:ptCount val="10"/>
                      <c:pt idx="0">
                        <c:v>143</c:v>
                      </c:pt>
                      <c:pt idx="1">
                        <c:v>150</c:v>
                      </c:pt>
                      <c:pt idx="2">
                        <c:v>140</c:v>
                      </c:pt>
                      <c:pt idx="3">
                        <c:v>146</c:v>
                      </c:pt>
                      <c:pt idx="4">
                        <c:v>144</c:v>
                      </c:pt>
                      <c:pt idx="5">
                        <c:v>144</c:v>
                      </c:pt>
                      <c:pt idx="6">
                        <c:v>141</c:v>
                      </c:pt>
                      <c:pt idx="7">
                        <c:v>178</c:v>
                      </c:pt>
                      <c:pt idx="8">
                        <c:v>193</c:v>
                      </c:pt>
                      <c:pt idx="9">
                        <c:v>19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87CC-4A6E-94E5-5F13A7EDCC09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Dog bites'!$D$1</c15:sqref>
                        </c15:formulaRef>
                      </c:ext>
                    </c:extLst>
                    <c:strCache>
                      <c:ptCount val="1"/>
                      <c:pt idx="0">
                        <c:v>Number of Episodes(SMR01)</c:v>
                      </c:pt>
                    </c:strCache>
                  </c:strRef>
                </c:tx>
                <c:spPr>
                  <a:solidFill>
                    <a:schemeClr val="accent4">
                      <a:alpha val="7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Dog bites'!$A$2:$A$118</c15:sqref>
                        </c15:formulaRef>
                      </c:ext>
                    </c:extLst>
                    <c:strCache>
                      <c:ptCount val="10"/>
                      <c:pt idx="0">
                        <c:v>2013/2014</c:v>
                      </c:pt>
                      <c:pt idx="1">
                        <c:v>2014/2015</c:v>
                      </c:pt>
                      <c:pt idx="2">
                        <c:v>2015/2016</c:v>
                      </c:pt>
                      <c:pt idx="3">
                        <c:v>2016/2017</c:v>
                      </c:pt>
                      <c:pt idx="4">
                        <c:v>2017/2018</c:v>
                      </c:pt>
                      <c:pt idx="5">
                        <c:v>2018/2019</c:v>
                      </c:pt>
                      <c:pt idx="6">
                        <c:v>2019/2020</c:v>
                      </c:pt>
                      <c:pt idx="7">
                        <c:v>2020/2021</c:v>
                      </c:pt>
                      <c:pt idx="8">
                        <c:v>2021/2022</c:v>
                      </c:pt>
                      <c:pt idx="9">
                        <c:v>2022/202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Dog bites'!$D$2:$D$118</c15:sqref>
                        </c15:formulaRef>
                      </c:ext>
                    </c:extLst>
                    <c:numCache>
                      <c:formatCode>0</c:formatCode>
                      <c:ptCount val="10"/>
                      <c:pt idx="0">
                        <c:v>144</c:v>
                      </c:pt>
                      <c:pt idx="1">
                        <c:v>150</c:v>
                      </c:pt>
                      <c:pt idx="2">
                        <c:v>140</c:v>
                      </c:pt>
                      <c:pt idx="3">
                        <c:v>149</c:v>
                      </c:pt>
                      <c:pt idx="4">
                        <c:v>144</c:v>
                      </c:pt>
                      <c:pt idx="5">
                        <c:v>145</c:v>
                      </c:pt>
                      <c:pt idx="6">
                        <c:v>143</c:v>
                      </c:pt>
                      <c:pt idx="7">
                        <c:v>179</c:v>
                      </c:pt>
                      <c:pt idx="8">
                        <c:v>194</c:v>
                      </c:pt>
                      <c:pt idx="9">
                        <c:v>19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87CC-4A6E-94E5-5F13A7EDCC09}"/>
                  </c:ext>
                </c:extLst>
              </c15:ser>
            </c15:filteredBarSeries>
          </c:ext>
        </c:extLst>
      </c:barChart>
      <c:catAx>
        <c:axId val="651255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51407024"/>
        <c:crosses val="autoZero"/>
        <c:auto val="1"/>
        <c:lblAlgn val="ctr"/>
        <c:lblOffset val="100"/>
        <c:noMultiLvlLbl val="0"/>
      </c:catAx>
      <c:valAx>
        <c:axId val="651407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51255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Deprivation!$B$14:$B$18</c:f>
              <c:strCache>
                <c:ptCount val="5"/>
                <c:pt idx="0">
                  <c:v>1 (Most deprived)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 (Least deprived)</c:v>
                </c:pt>
              </c:strCache>
            </c:strRef>
          </c:cat>
          <c:val>
            <c:numRef>
              <c:f>Deprivation!$D$14:$D$18</c:f>
              <c:numCache>
                <c:formatCode>0.0</c:formatCode>
                <c:ptCount val="5"/>
                <c:pt idx="0">
                  <c:v>134.475642869148</c:v>
                </c:pt>
                <c:pt idx="1">
                  <c:v>109.10493424926899</c:v>
                </c:pt>
                <c:pt idx="2">
                  <c:v>95.787109397406994</c:v>
                </c:pt>
                <c:pt idx="3">
                  <c:v>86.689861919038805</c:v>
                </c:pt>
                <c:pt idx="4">
                  <c:v>78.189352905023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75-4D37-9E89-B9B50EAF50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51446480"/>
        <c:axId val="451446808"/>
      </c:barChart>
      <c:lineChart>
        <c:grouping val="standard"/>
        <c:varyColors val="0"/>
        <c:ser>
          <c:idx val="1"/>
          <c:order val="1"/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cat>
            <c:numRef>
              <c:f>Deprivation!$A$14:$A$18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Deprivation!$E$14:$E$18</c:f>
              <c:numCache>
                <c:formatCode>0.0</c:formatCode>
                <c:ptCount val="5"/>
                <c:pt idx="0">
                  <c:v>132.20650160115099</c:v>
                </c:pt>
                <c:pt idx="1">
                  <c:v>107.129196413264</c:v>
                </c:pt>
                <c:pt idx="2">
                  <c:v>93.984222906753004</c:v>
                </c:pt>
                <c:pt idx="3">
                  <c:v>84.984504670002195</c:v>
                </c:pt>
                <c:pt idx="4">
                  <c:v>76.5492477404687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175-4D37-9E89-B9B50EAF50C2}"/>
            </c:ext>
          </c:extLst>
        </c:ser>
        <c:ser>
          <c:idx val="2"/>
          <c:order val="2"/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numRef>
              <c:f>Deprivation!$A$14:$A$18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Deprivation!$F$14:$F$18</c:f>
              <c:numCache>
                <c:formatCode>0.0</c:formatCode>
                <c:ptCount val="5"/>
                <c:pt idx="0">
                  <c:v>136.74478413714399</c:v>
                </c:pt>
                <c:pt idx="1">
                  <c:v>111.080672085274</c:v>
                </c:pt>
                <c:pt idx="2">
                  <c:v>97.589995888060997</c:v>
                </c:pt>
                <c:pt idx="3">
                  <c:v>88.3952191680754</c:v>
                </c:pt>
                <c:pt idx="4">
                  <c:v>79.8294580695794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175-4D37-9E89-B9B50EAF50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hiLowLines>
        <c:marker val="1"/>
        <c:smooth val="0"/>
        <c:axId val="451446480"/>
        <c:axId val="451446808"/>
      </c:lineChart>
      <c:lineChart>
        <c:grouping val="standard"/>
        <c:varyColors val="0"/>
        <c:ser>
          <c:idx val="3"/>
          <c:order val="3"/>
          <c:tx>
            <c:v>Scotland</c:v>
          </c:tx>
          <c:spPr>
            <a:ln w="254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Deprivation!$A$14:$A$18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Deprivation!$G$14:$G$18</c:f>
              <c:numCache>
                <c:formatCode>General</c:formatCode>
                <c:ptCount val="5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175-4D37-9E89-B9B50EAF50C2}"/>
            </c:ext>
          </c:extLst>
        </c:ser>
        <c:ser>
          <c:idx val="4"/>
          <c:order val="4"/>
          <c:tx>
            <c:v>Secondary axis</c:v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val>
            <c:numRef>
              <c:f>Deprivation!$H$14:$H$18</c:f>
              <c:numCache>
                <c:formatCode>General</c:formatCode>
                <c:ptCount val="5"/>
                <c:pt idx="0" formatCode="0.0">
                  <c:v>76.549247740468701</c:v>
                </c:pt>
                <c:pt idx="4" formatCode="0.0">
                  <c:v>136.744784137143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175-4D37-9E89-B9B50EAF50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2559280"/>
        <c:axId val="902559936"/>
      </c:lineChart>
      <c:catAx>
        <c:axId val="45144648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GB"/>
                  <a:t>Deprivatio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51446808"/>
        <c:crosses val="autoZero"/>
        <c:auto val="1"/>
        <c:lblAlgn val="ctr"/>
        <c:lblOffset val="100"/>
        <c:noMultiLvlLbl val="0"/>
      </c:catAx>
      <c:valAx>
        <c:axId val="451446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GB"/>
                  <a:t>Standardised discharge ratio: Scotland = 100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51446480"/>
        <c:crosses val="autoZero"/>
        <c:crossBetween val="between"/>
      </c:valAx>
      <c:valAx>
        <c:axId val="90255993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02559280"/>
        <c:crosses val="max"/>
        <c:crossBetween val="between"/>
      </c:valAx>
      <c:catAx>
        <c:axId val="9025592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025599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/>
              <a:t>Annual unplanned emergency</a:t>
            </a:r>
            <a:r>
              <a:rPr lang="en-US" sz="2400" baseline="0" dirty="0"/>
              <a:t> department (ED) </a:t>
            </a:r>
          </a:p>
          <a:p>
            <a:pPr>
              <a:defRPr sz="2400"/>
            </a:pPr>
            <a:r>
              <a:rPr lang="en-US" sz="2400" baseline="0" dirty="0"/>
              <a:t>and minor injury unit</a:t>
            </a:r>
            <a:r>
              <a:rPr lang="en-US" sz="2400" dirty="0"/>
              <a:t> (MIU) attendanc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harts!$B$2</c:f>
              <c:strCache>
                <c:ptCount val="1"/>
                <c:pt idx="0">
                  <c:v>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Charts!$A$3:$A$15</c:f>
              <c:numCache>
                <c:formatCode>General</c:formatCode>
                <c:ptCount val="1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</c:numCache>
            </c:numRef>
          </c:cat>
          <c:val>
            <c:numRef>
              <c:f>Charts!$B$3:$B$15</c:f>
              <c:numCache>
                <c:formatCode>#,##0</c:formatCode>
                <c:ptCount val="13"/>
                <c:pt idx="0">
                  <c:v>1378653</c:v>
                </c:pt>
                <c:pt idx="1">
                  <c:v>1373126</c:v>
                </c:pt>
                <c:pt idx="2">
                  <c:v>1334637</c:v>
                </c:pt>
                <c:pt idx="3">
                  <c:v>1370073</c:v>
                </c:pt>
                <c:pt idx="4">
                  <c:v>1307079</c:v>
                </c:pt>
                <c:pt idx="5">
                  <c:v>1340700</c:v>
                </c:pt>
                <c:pt idx="6">
                  <c:v>1351856</c:v>
                </c:pt>
                <c:pt idx="7">
                  <c:v>1371466</c:v>
                </c:pt>
                <c:pt idx="8">
                  <c:v>1440285</c:v>
                </c:pt>
                <c:pt idx="9">
                  <c:v>1088651</c:v>
                </c:pt>
                <c:pt idx="10">
                  <c:v>1224029</c:v>
                </c:pt>
                <c:pt idx="11">
                  <c:v>1321594</c:v>
                </c:pt>
                <c:pt idx="12">
                  <c:v>13115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BE-40CE-A71E-E352F096425C}"/>
            </c:ext>
          </c:extLst>
        </c:ser>
        <c:ser>
          <c:idx val="1"/>
          <c:order val="1"/>
          <c:tx>
            <c:strRef>
              <c:f>Charts!$C$2</c:f>
              <c:strCache>
                <c:ptCount val="1"/>
                <c:pt idx="0">
                  <c:v>MIU/OTHE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Charts!$A$3:$A$15</c:f>
              <c:numCache>
                <c:formatCode>General</c:formatCode>
                <c:ptCount val="1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</c:numCache>
            </c:numRef>
          </c:cat>
          <c:val>
            <c:numRef>
              <c:f>Charts!$C$3:$C$15</c:f>
              <c:numCache>
                <c:formatCode>#,##0</c:formatCode>
                <c:ptCount val="13"/>
                <c:pt idx="0">
                  <c:v>242856</c:v>
                </c:pt>
                <c:pt idx="1">
                  <c:v>268784</c:v>
                </c:pt>
                <c:pt idx="2">
                  <c:v>273819</c:v>
                </c:pt>
                <c:pt idx="3">
                  <c:v>274444</c:v>
                </c:pt>
                <c:pt idx="4">
                  <c:v>285264</c:v>
                </c:pt>
                <c:pt idx="5">
                  <c:v>297470</c:v>
                </c:pt>
                <c:pt idx="6">
                  <c:v>291610</c:v>
                </c:pt>
                <c:pt idx="7">
                  <c:v>297333</c:v>
                </c:pt>
                <c:pt idx="8">
                  <c:v>300473</c:v>
                </c:pt>
                <c:pt idx="9">
                  <c:v>186437</c:v>
                </c:pt>
                <c:pt idx="10">
                  <c:v>183993</c:v>
                </c:pt>
                <c:pt idx="11">
                  <c:v>210044</c:v>
                </c:pt>
                <c:pt idx="12">
                  <c:v>215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BE-40CE-A71E-E352F09642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05391679"/>
        <c:axId val="2103289423"/>
      </c:barChart>
      <c:catAx>
        <c:axId val="21053916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3289423"/>
        <c:crosses val="autoZero"/>
        <c:auto val="1"/>
        <c:lblAlgn val="ctr"/>
        <c:lblOffset val="100"/>
        <c:noMultiLvlLbl val="0"/>
      </c:catAx>
      <c:valAx>
        <c:axId val="2103289423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53916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9A3D718-F528-47D7-8223-0960A16CEDC9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FD865098-E7BB-44C3-9BDF-C63BE9F8E493}">
      <dgm:prSet phldrT="[Text]" phldr="0"/>
      <dgm:spPr/>
      <dgm:t>
        <a:bodyPr/>
        <a:lstStyle/>
        <a:p>
          <a:pPr rtl="0"/>
          <a:r>
            <a:rPr lang="en-GB">
              <a:latin typeface="Arial" panose="020B0604020202020204"/>
            </a:rPr>
            <a:t>Scottish Government</a:t>
          </a:r>
          <a:endParaRPr lang="en-GB"/>
        </a:p>
      </dgm:t>
    </dgm:pt>
    <dgm:pt modelId="{49B530D8-84CF-43A1-AC7F-65E41D52B326}" type="parTrans" cxnId="{71D7699B-37B4-44D0-BA0C-F34467958DD4}">
      <dgm:prSet/>
      <dgm:spPr/>
      <dgm:t>
        <a:bodyPr/>
        <a:lstStyle/>
        <a:p>
          <a:endParaRPr lang="en-GB"/>
        </a:p>
      </dgm:t>
    </dgm:pt>
    <dgm:pt modelId="{BE5CB384-857F-492C-85FA-DC03B16B3793}" type="sibTrans" cxnId="{71D7699B-37B4-44D0-BA0C-F34467958DD4}">
      <dgm:prSet/>
      <dgm:spPr/>
      <dgm:t>
        <a:bodyPr/>
        <a:lstStyle/>
        <a:p>
          <a:endParaRPr lang="en-GB"/>
        </a:p>
      </dgm:t>
    </dgm:pt>
    <dgm:pt modelId="{098C7C6B-45D6-48D2-BA66-0AB0F4C7484E}">
      <dgm:prSet phldrT="[Text]" phldr="0"/>
      <dgm:spPr/>
      <dgm:t>
        <a:bodyPr/>
        <a:lstStyle/>
        <a:p>
          <a:pPr rtl="0"/>
          <a:r>
            <a:rPr lang="en-GB">
              <a:latin typeface="Arial" panose="020B0604020202020204"/>
            </a:rPr>
            <a:t>Local Government</a:t>
          </a:r>
          <a:endParaRPr lang="en-GB"/>
        </a:p>
      </dgm:t>
    </dgm:pt>
    <dgm:pt modelId="{08393562-09AA-4277-9631-EF70B4EB7F92}" type="parTrans" cxnId="{27ED4F6F-3F36-4D94-B9CE-6F5F355AC8A3}">
      <dgm:prSet/>
      <dgm:spPr/>
      <dgm:t>
        <a:bodyPr/>
        <a:lstStyle/>
        <a:p>
          <a:endParaRPr lang="en-GB"/>
        </a:p>
      </dgm:t>
    </dgm:pt>
    <dgm:pt modelId="{E4D5B1FC-0AEC-4E47-87BF-140CA50804E4}" type="sibTrans" cxnId="{27ED4F6F-3F36-4D94-B9CE-6F5F355AC8A3}">
      <dgm:prSet/>
      <dgm:spPr/>
      <dgm:t>
        <a:bodyPr/>
        <a:lstStyle/>
        <a:p>
          <a:endParaRPr lang="en-GB"/>
        </a:p>
      </dgm:t>
    </dgm:pt>
    <dgm:pt modelId="{3D6FDA21-FB73-4019-9078-9EA22B893FA9}">
      <dgm:prSet phldrT="[Text]" phldr="0"/>
      <dgm:spPr/>
      <dgm:t>
        <a:bodyPr/>
        <a:lstStyle/>
        <a:p>
          <a:pPr rtl="0"/>
          <a:r>
            <a:rPr lang="en-GB">
              <a:latin typeface="Arial" panose="020B0604020202020204"/>
            </a:rPr>
            <a:t>Health and Social Care</a:t>
          </a:r>
          <a:endParaRPr lang="en-GB"/>
        </a:p>
      </dgm:t>
    </dgm:pt>
    <dgm:pt modelId="{38458FD4-9D0C-4735-9C0B-0B50361C7594}" type="parTrans" cxnId="{7B96B6DE-8EB7-4F36-A27F-5DE2CF0F1EDD}">
      <dgm:prSet/>
      <dgm:spPr/>
      <dgm:t>
        <a:bodyPr/>
        <a:lstStyle/>
        <a:p>
          <a:endParaRPr lang="en-GB"/>
        </a:p>
      </dgm:t>
    </dgm:pt>
    <dgm:pt modelId="{AC747199-C066-427C-ABD5-CF366E8E6423}" type="sibTrans" cxnId="{7B96B6DE-8EB7-4F36-A27F-5DE2CF0F1EDD}">
      <dgm:prSet/>
      <dgm:spPr/>
      <dgm:t>
        <a:bodyPr/>
        <a:lstStyle/>
        <a:p>
          <a:endParaRPr lang="en-GB"/>
        </a:p>
      </dgm:t>
    </dgm:pt>
    <dgm:pt modelId="{2A5BA5F2-B0C0-47D8-82E0-3AFC2DD56766}">
      <dgm:prSet phldr="0"/>
      <dgm:spPr/>
      <dgm:t>
        <a:bodyPr/>
        <a:lstStyle/>
        <a:p>
          <a:pPr rtl="0"/>
          <a:r>
            <a:rPr lang="en-GB">
              <a:latin typeface="Arial" panose="020B0604020202020204"/>
            </a:rPr>
            <a:t>Communities and Third Sector</a:t>
          </a:r>
        </a:p>
      </dgm:t>
    </dgm:pt>
    <dgm:pt modelId="{B6B3D7D9-0E0B-47A8-888B-46AC7F9E09F1}" type="parTrans" cxnId="{07C1F8A0-D0C6-4454-B3F4-3BE65EE940D3}">
      <dgm:prSet/>
      <dgm:spPr/>
      <dgm:t>
        <a:bodyPr/>
        <a:lstStyle/>
        <a:p>
          <a:endParaRPr lang="en-GB"/>
        </a:p>
      </dgm:t>
    </dgm:pt>
    <dgm:pt modelId="{148154E3-85EA-484B-9B39-A217FBADB42F}" type="sibTrans" cxnId="{07C1F8A0-D0C6-4454-B3F4-3BE65EE940D3}">
      <dgm:prSet/>
      <dgm:spPr/>
      <dgm:t>
        <a:bodyPr/>
        <a:lstStyle/>
        <a:p>
          <a:endParaRPr lang="en-GB"/>
        </a:p>
      </dgm:t>
    </dgm:pt>
    <dgm:pt modelId="{EC58743F-7AA2-465A-B202-85C9D2E024C2}">
      <dgm:prSet phldr="0"/>
      <dgm:spPr/>
      <dgm:t>
        <a:bodyPr/>
        <a:lstStyle/>
        <a:p>
          <a:r>
            <a:rPr lang="en-GB">
              <a:latin typeface="Arial" panose="020B0604020202020204"/>
            </a:rPr>
            <a:t>Business</a:t>
          </a:r>
        </a:p>
      </dgm:t>
    </dgm:pt>
    <dgm:pt modelId="{70218835-268B-4014-ACA0-663DE748B954}" type="parTrans" cxnId="{7865C41A-0741-4638-B64F-59508E978F5B}">
      <dgm:prSet/>
      <dgm:spPr/>
      <dgm:t>
        <a:bodyPr/>
        <a:lstStyle/>
        <a:p>
          <a:endParaRPr lang="en-GB"/>
        </a:p>
      </dgm:t>
    </dgm:pt>
    <dgm:pt modelId="{222DC6DC-2D47-491E-934A-0DE4DA8835BA}" type="sibTrans" cxnId="{7865C41A-0741-4638-B64F-59508E978F5B}">
      <dgm:prSet/>
      <dgm:spPr/>
      <dgm:t>
        <a:bodyPr/>
        <a:lstStyle/>
        <a:p>
          <a:endParaRPr lang="en-GB"/>
        </a:p>
      </dgm:t>
    </dgm:pt>
    <dgm:pt modelId="{F6FBC999-F1BB-4F99-8445-A8C98EF9B2BF}">
      <dgm:prSet phldr="0"/>
      <dgm:spPr/>
      <dgm:t>
        <a:bodyPr/>
        <a:lstStyle/>
        <a:p>
          <a:pPr rtl="0"/>
          <a:r>
            <a:rPr lang="en-GB">
              <a:latin typeface="Arial" panose="020B0604020202020204"/>
            </a:rPr>
            <a:t>Wider Public Sector</a:t>
          </a:r>
        </a:p>
      </dgm:t>
    </dgm:pt>
    <dgm:pt modelId="{4B6284B5-AB16-483B-A6E4-3C4864A37F75}" type="parTrans" cxnId="{F4B68BDD-F337-4756-A9F4-A33E7D652540}">
      <dgm:prSet/>
      <dgm:spPr/>
      <dgm:t>
        <a:bodyPr/>
        <a:lstStyle/>
        <a:p>
          <a:endParaRPr lang="en-GB"/>
        </a:p>
      </dgm:t>
    </dgm:pt>
    <dgm:pt modelId="{86DB0196-1502-400C-BA37-ECD973996C95}" type="sibTrans" cxnId="{F4B68BDD-F337-4756-A9F4-A33E7D652540}">
      <dgm:prSet/>
      <dgm:spPr/>
      <dgm:t>
        <a:bodyPr/>
        <a:lstStyle/>
        <a:p>
          <a:endParaRPr lang="en-GB"/>
        </a:p>
      </dgm:t>
    </dgm:pt>
    <dgm:pt modelId="{16C203B9-587C-4D81-92EE-87F49C583BD7}" type="pres">
      <dgm:prSet presAssocID="{F9A3D718-F528-47D7-8223-0960A16CEDC9}" presName="diagram" presStyleCnt="0">
        <dgm:presLayoutVars>
          <dgm:dir/>
          <dgm:resizeHandles val="exact"/>
        </dgm:presLayoutVars>
      </dgm:prSet>
      <dgm:spPr/>
    </dgm:pt>
    <dgm:pt modelId="{E6EF0A37-5022-481E-B947-61E583AA0674}" type="pres">
      <dgm:prSet presAssocID="{FD865098-E7BB-44C3-9BDF-C63BE9F8E493}" presName="node" presStyleLbl="node1" presStyleIdx="0" presStyleCnt="6">
        <dgm:presLayoutVars>
          <dgm:bulletEnabled val="1"/>
        </dgm:presLayoutVars>
      </dgm:prSet>
      <dgm:spPr/>
    </dgm:pt>
    <dgm:pt modelId="{1395E6D5-9E43-47FD-84E6-FA52F773DCE3}" type="pres">
      <dgm:prSet presAssocID="{BE5CB384-857F-492C-85FA-DC03B16B3793}" presName="sibTrans" presStyleCnt="0"/>
      <dgm:spPr/>
    </dgm:pt>
    <dgm:pt modelId="{8A3D6630-7F4C-4072-A3A2-80B3A5C256AD}" type="pres">
      <dgm:prSet presAssocID="{098C7C6B-45D6-48D2-BA66-0AB0F4C7484E}" presName="node" presStyleLbl="node1" presStyleIdx="1" presStyleCnt="6">
        <dgm:presLayoutVars>
          <dgm:bulletEnabled val="1"/>
        </dgm:presLayoutVars>
      </dgm:prSet>
      <dgm:spPr/>
    </dgm:pt>
    <dgm:pt modelId="{B89AB4CE-08EB-4921-83B8-E253CC871858}" type="pres">
      <dgm:prSet presAssocID="{E4D5B1FC-0AEC-4E47-87BF-140CA50804E4}" presName="sibTrans" presStyleCnt="0"/>
      <dgm:spPr/>
    </dgm:pt>
    <dgm:pt modelId="{67AF395E-F3A7-49BA-BDBF-FBC3D1BE4091}" type="pres">
      <dgm:prSet presAssocID="{3D6FDA21-FB73-4019-9078-9EA22B893FA9}" presName="node" presStyleLbl="node1" presStyleIdx="2" presStyleCnt="6">
        <dgm:presLayoutVars>
          <dgm:bulletEnabled val="1"/>
        </dgm:presLayoutVars>
      </dgm:prSet>
      <dgm:spPr/>
    </dgm:pt>
    <dgm:pt modelId="{37B04E7F-B5A9-4CF8-AC90-AF21AA344927}" type="pres">
      <dgm:prSet presAssocID="{AC747199-C066-427C-ABD5-CF366E8E6423}" presName="sibTrans" presStyleCnt="0"/>
      <dgm:spPr/>
    </dgm:pt>
    <dgm:pt modelId="{73BB3E4F-2080-4CA0-B62D-831DF27A6716}" type="pres">
      <dgm:prSet presAssocID="{2A5BA5F2-B0C0-47D8-82E0-3AFC2DD56766}" presName="node" presStyleLbl="node1" presStyleIdx="3" presStyleCnt="6">
        <dgm:presLayoutVars>
          <dgm:bulletEnabled val="1"/>
        </dgm:presLayoutVars>
      </dgm:prSet>
      <dgm:spPr/>
    </dgm:pt>
    <dgm:pt modelId="{A6082C5C-0A5C-4DBE-A487-A7985439D8AA}" type="pres">
      <dgm:prSet presAssocID="{148154E3-85EA-484B-9B39-A217FBADB42F}" presName="sibTrans" presStyleCnt="0"/>
      <dgm:spPr/>
    </dgm:pt>
    <dgm:pt modelId="{78705173-394B-4154-87EA-2BC731074853}" type="pres">
      <dgm:prSet presAssocID="{F6FBC999-F1BB-4F99-8445-A8C98EF9B2BF}" presName="node" presStyleLbl="node1" presStyleIdx="4" presStyleCnt="6">
        <dgm:presLayoutVars>
          <dgm:bulletEnabled val="1"/>
        </dgm:presLayoutVars>
      </dgm:prSet>
      <dgm:spPr/>
    </dgm:pt>
    <dgm:pt modelId="{7B336638-EB16-4F9C-B565-287748D36A5E}" type="pres">
      <dgm:prSet presAssocID="{86DB0196-1502-400C-BA37-ECD973996C95}" presName="sibTrans" presStyleCnt="0"/>
      <dgm:spPr/>
    </dgm:pt>
    <dgm:pt modelId="{959FDA1A-8C0C-4D0C-BC07-BF269343361A}" type="pres">
      <dgm:prSet presAssocID="{EC58743F-7AA2-465A-B202-85C9D2E024C2}" presName="node" presStyleLbl="node1" presStyleIdx="5" presStyleCnt="6">
        <dgm:presLayoutVars>
          <dgm:bulletEnabled val="1"/>
        </dgm:presLayoutVars>
      </dgm:prSet>
      <dgm:spPr/>
    </dgm:pt>
  </dgm:ptLst>
  <dgm:cxnLst>
    <dgm:cxn modelId="{3E50B705-5F4A-4C9E-906E-DE41E85DAC88}" type="presOf" srcId="{FD865098-E7BB-44C3-9BDF-C63BE9F8E493}" destId="{E6EF0A37-5022-481E-B947-61E583AA0674}" srcOrd="0" destOrd="0" presId="urn:microsoft.com/office/officeart/2005/8/layout/default"/>
    <dgm:cxn modelId="{7865C41A-0741-4638-B64F-59508E978F5B}" srcId="{F9A3D718-F528-47D7-8223-0960A16CEDC9}" destId="{EC58743F-7AA2-465A-B202-85C9D2E024C2}" srcOrd="5" destOrd="0" parTransId="{70218835-268B-4014-ACA0-663DE748B954}" sibTransId="{222DC6DC-2D47-491E-934A-0DE4DA8835BA}"/>
    <dgm:cxn modelId="{9DEA9E61-DB1D-4DDE-AA60-8D52D966F5D7}" type="presOf" srcId="{098C7C6B-45D6-48D2-BA66-0AB0F4C7484E}" destId="{8A3D6630-7F4C-4072-A3A2-80B3A5C256AD}" srcOrd="0" destOrd="0" presId="urn:microsoft.com/office/officeart/2005/8/layout/default"/>
    <dgm:cxn modelId="{27ED4F6F-3F36-4D94-B9CE-6F5F355AC8A3}" srcId="{F9A3D718-F528-47D7-8223-0960A16CEDC9}" destId="{098C7C6B-45D6-48D2-BA66-0AB0F4C7484E}" srcOrd="1" destOrd="0" parTransId="{08393562-09AA-4277-9631-EF70B4EB7F92}" sibTransId="{E4D5B1FC-0AEC-4E47-87BF-140CA50804E4}"/>
    <dgm:cxn modelId="{04127279-48CB-4276-91C9-1C9728B98FDD}" type="presOf" srcId="{EC58743F-7AA2-465A-B202-85C9D2E024C2}" destId="{959FDA1A-8C0C-4D0C-BC07-BF269343361A}" srcOrd="0" destOrd="0" presId="urn:microsoft.com/office/officeart/2005/8/layout/default"/>
    <dgm:cxn modelId="{71D7699B-37B4-44D0-BA0C-F34467958DD4}" srcId="{F9A3D718-F528-47D7-8223-0960A16CEDC9}" destId="{FD865098-E7BB-44C3-9BDF-C63BE9F8E493}" srcOrd="0" destOrd="0" parTransId="{49B530D8-84CF-43A1-AC7F-65E41D52B326}" sibTransId="{BE5CB384-857F-492C-85FA-DC03B16B3793}"/>
    <dgm:cxn modelId="{07C1F8A0-D0C6-4454-B3F4-3BE65EE940D3}" srcId="{F9A3D718-F528-47D7-8223-0960A16CEDC9}" destId="{2A5BA5F2-B0C0-47D8-82E0-3AFC2DD56766}" srcOrd="3" destOrd="0" parTransId="{B6B3D7D9-0E0B-47A8-888B-46AC7F9E09F1}" sibTransId="{148154E3-85EA-484B-9B39-A217FBADB42F}"/>
    <dgm:cxn modelId="{64F9BDA1-77A2-4D3D-A1D9-689E6F2ED30F}" type="presOf" srcId="{F9A3D718-F528-47D7-8223-0960A16CEDC9}" destId="{16C203B9-587C-4D81-92EE-87F49C583BD7}" srcOrd="0" destOrd="0" presId="urn:microsoft.com/office/officeart/2005/8/layout/default"/>
    <dgm:cxn modelId="{FB4BD8C1-D79A-4F02-8713-50F143844AB8}" type="presOf" srcId="{2A5BA5F2-B0C0-47D8-82E0-3AFC2DD56766}" destId="{73BB3E4F-2080-4CA0-B62D-831DF27A6716}" srcOrd="0" destOrd="0" presId="urn:microsoft.com/office/officeart/2005/8/layout/default"/>
    <dgm:cxn modelId="{F4B68BDD-F337-4756-A9F4-A33E7D652540}" srcId="{F9A3D718-F528-47D7-8223-0960A16CEDC9}" destId="{F6FBC999-F1BB-4F99-8445-A8C98EF9B2BF}" srcOrd="4" destOrd="0" parTransId="{4B6284B5-AB16-483B-A6E4-3C4864A37F75}" sibTransId="{86DB0196-1502-400C-BA37-ECD973996C95}"/>
    <dgm:cxn modelId="{7B96B6DE-8EB7-4F36-A27F-5DE2CF0F1EDD}" srcId="{F9A3D718-F528-47D7-8223-0960A16CEDC9}" destId="{3D6FDA21-FB73-4019-9078-9EA22B893FA9}" srcOrd="2" destOrd="0" parTransId="{38458FD4-9D0C-4735-9C0B-0B50361C7594}" sibTransId="{AC747199-C066-427C-ABD5-CF366E8E6423}"/>
    <dgm:cxn modelId="{045A8AF8-F7C7-4B68-992D-71258556903D}" type="presOf" srcId="{3D6FDA21-FB73-4019-9078-9EA22B893FA9}" destId="{67AF395E-F3A7-49BA-BDBF-FBC3D1BE4091}" srcOrd="0" destOrd="0" presId="urn:microsoft.com/office/officeart/2005/8/layout/default"/>
    <dgm:cxn modelId="{759041FA-6ED1-49B4-BEE8-451C4E67CB0C}" type="presOf" srcId="{F6FBC999-F1BB-4F99-8445-A8C98EF9B2BF}" destId="{78705173-394B-4154-87EA-2BC731074853}" srcOrd="0" destOrd="0" presId="urn:microsoft.com/office/officeart/2005/8/layout/default"/>
    <dgm:cxn modelId="{25A11A0F-2767-449C-9238-E063431E946A}" type="presParOf" srcId="{16C203B9-587C-4D81-92EE-87F49C583BD7}" destId="{E6EF0A37-5022-481E-B947-61E583AA0674}" srcOrd="0" destOrd="0" presId="urn:microsoft.com/office/officeart/2005/8/layout/default"/>
    <dgm:cxn modelId="{583F391C-4FD2-4807-AABF-BF5958702792}" type="presParOf" srcId="{16C203B9-587C-4D81-92EE-87F49C583BD7}" destId="{1395E6D5-9E43-47FD-84E6-FA52F773DCE3}" srcOrd="1" destOrd="0" presId="urn:microsoft.com/office/officeart/2005/8/layout/default"/>
    <dgm:cxn modelId="{24887740-331F-4A53-ABA6-42FFF048B31E}" type="presParOf" srcId="{16C203B9-587C-4D81-92EE-87F49C583BD7}" destId="{8A3D6630-7F4C-4072-A3A2-80B3A5C256AD}" srcOrd="2" destOrd="0" presId="urn:microsoft.com/office/officeart/2005/8/layout/default"/>
    <dgm:cxn modelId="{48D14FB4-5C64-41D0-BEE2-2135AC367C08}" type="presParOf" srcId="{16C203B9-587C-4D81-92EE-87F49C583BD7}" destId="{B89AB4CE-08EB-4921-83B8-E253CC871858}" srcOrd="3" destOrd="0" presId="urn:microsoft.com/office/officeart/2005/8/layout/default"/>
    <dgm:cxn modelId="{54284B80-FC89-4E3C-B28A-44CBB804E802}" type="presParOf" srcId="{16C203B9-587C-4D81-92EE-87F49C583BD7}" destId="{67AF395E-F3A7-49BA-BDBF-FBC3D1BE4091}" srcOrd="4" destOrd="0" presId="urn:microsoft.com/office/officeart/2005/8/layout/default"/>
    <dgm:cxn modelId="{E5E283A4-D327-48EC-BFE7-1C1510C2A547}" type="presParOf" srcId="{16C203B9-587C-4D81-92EE-87F49C583BD7}" destId="{37B04E7F-B5A9-4CF8-AC90-AF21AA344927}" srcOrd="5" destOrd="0" presId="urn:microsoft.com/office/officeart/2005/8/layout/default"/>
    <dgm:cxn modelId="{5F264785-61E3-4CC7-89C9-418FB7ACE7ED}" type="presParOf" srcId="{16C203B9-587C-4D81-92EE-87F49C583BD7}" destId="{73BB3E4F-2080-4CA0-B62D-831DF27A6716}" srcOrd="6" destOrd="0" presId="urn:microsoft.com/office/officeart/2005/8/layout/default"/>
    <dgm:cxn modelId="{58705C44-1F80-491D-9AC6-F6522275654D}" type="presParOf" srcId="{16C203B9-587C-4D81-92EE-87F49C583BD7}" destId="{A6082C5C-0A5C-4DBE-A487-A7985439D8AA}" srcOrd="7" destOrd="0" presId="urn:microsoft.com/office/officeart/2005/8/layout/default"/>
    <dgm:cxn modelId="{968FD93A-0BB4-411A-AA04-FD3803FA34B6}" type="presParOf" srcId="{16C203B9-587C-4D81-92EE-87F49C583BD7}" destId="{78705173-394B-4154-87EA-2BC731074853}" srcOrd="8" destOrd="0" presId="urn:microsoft.com/office/officeart/2005/8/layout/default"/>
    <dgm:cxn modelId="{AF4DBCEB-5AFA-486C-812B-9B7B963B1D49}" type="presParOf" srcId="{16C203B9-587C-4D81-92EE-87F49C583BD7}" destId="{7B336638-EB16-4F9C-B565-287748D36A5E}" srcOrd="9" destOrd="0" presId="urn:microsoft.com/office/officeart/2005/8/layout/default"/>
    <dgm:cxn modelId="{CBB3E158-C8FE-4AC6-B3B7-870E58591646}" type="presParOf" srcId="{16C203B9-587C-4D81-92EE-87F49C583BD7}" destId="{959FDA1A-8C0C-4D0C-BC07-BF269343361A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EF0A37-5022-481E-B947-61E583AA0674}">
      <dsp:nvSpPr>
        <dsp:cNvPr id="0" name=""/>
        <dsp:cNvSpPr/>
      </dsp:nvSpPr>
      <dsp:spPr>
        <a:xfrm>
          <a:off x="0" y="216569"/>
          <a:ext cx="3631902" cy="217914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ctr" defTabSz="1955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400" kern="1200">
              <a:latin typeface="Arial" panose="020B0604020202020204"/>
            </a:rPr>
            <a:t>Scottish Government</a:t>
          </a:r>
          <a:endParaRPr lang="en-GB" sz="4400" kern="1200"/>
        </a:p>
      </dsp:txBody>
      <dsp:txXfrm>
        <a:off x="0" y="216569"/>
        <a:ext cx="3631902" cy="2179141"/>
      </dsp:txXfrm>
    </dsp:sp>
    <dsp:sp modelId="{8A3D6630-7F4C-4072-A3A2-80B3A5C256AD}">
      <dsp:nvSpPr>
        <dsp:cNvPr id="0" name=""/>
        <dsp:cNvSpPr/>
      </dsp:nvSpPr>
      <dsp:spPr>
        <a:xfrm>
          <a:off x="3995092" y="216569"/>
          <a:ext cx="3631902" cy="2179141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ctr" defTabSz="1955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400" kern="1200">
              <a:latin typeface="Arial" panose="020B0604020202020204"/>
            </a:rPr>
            <a:t>Local Government</a:t>
          </a:r>
          <a:endParaRPr lang="en-GB" sz="4400" kern="1200"/>
        </a:p>
      </dsp:txBody>
      <dsp:txXfrm>
        <a:off x="3995092" y="216569"/>
        <a:ext cx="3631902" cy="2179141"/>
      </dsp:txXfrm>
    </dsp:sp>
    <dsp:sp modelId="{67AF395E-F3A7-49BA-BDBF-FBC3D1BE4091}">
      <dsp:nvSpPr>
        <dsp:cNvPr id="0" name=""/>
        <dsp:cNvSpPr/>
      </dsp:nvSpPr>
      <dsp:spPr>
        <a:xfrm>
          <a:off x="7990185" y="216569"/>
          <a:ext cx="3631902" cy="2179141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ctr" defTabSz="1955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400" kern="1200">
              <a:latin typeface="Arial" panose="020B0604020202020204"/>
            </a:rPr>
            <a:t>Health and Social Care</a:t>
          </a:r>
          <a:endParaRPr lang="en-GB" sz="4400" kern="1200"/>
        </a:p>
      </dsp:txBody>
      <dsp:txXfrm>
        <a:off x="7990185" y="216569"/>
        <a:ext cx="3631902" cy="2179141"/>
      </dsp:txXfrm>
    </dsp:sp>
    <dsp:sp modelId="{73BB3E4F-2080-4CA0-B62D-831DF27A6716}">
      <dsp:nvSpPr>
        <dsp:cNvPr id="0" name=""/>
        <dsp:cNvSpPr/>
      </dsp:nvSpPr>
      <dsp:spPr>
        <a:xfrm>
          <a:off x="0" y="2758901"/>
          <a:ext cx="3631902" cy="2179141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ctr" defTabSz="1955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400" kern="1200">
              <a:latin typeface="Arial" panose="020B0604020202020204"/>
            </a:rPr>
            <a:t>Communities and Third Sector</a:t>
          </a:r>
        </a:p>
      </dsp:txBody>
      <dsp:txXfrm>
        <a:off x="0" y="2758901"/>
        <a:ext cx="3631902" cy="2179141"/>
      </dsp:txXfrm>
    </dsp:sp>
    <dsp:sp modelId="{78705173-394B-4154-87EA-2BC731074853}">
      <dsp:nvSpPr>
        <dsp:cNvPr id="0" name=""/>
        <dsp:cNvSpPr/>
      </dsp:nvSpPr>
      <dsp:spPr>
        <a:xfrm>
          <a:off x="3995092" y="2758901"/>
          <a:ext cx="3631902" cy="2179141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ctr" defTabSz="1955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400" kern="1200">
              <a:latin typeface="Arial" panose="020B0604020202020204"/>
            </a:rPr>
            <a:t>Wider Public Sector</a:t>
          </a:r>
        </a:p>
      </dsp:txBody>
      <dsp:txXfrm>
        <a:off x="3995092" y="2758901"/>
        <a:ext cx="3631902" cy="2179141"/>
      </dsp:txXfrm>
    </dsp:sp>
    <dsp:sp modelId="{959FDA1A-8C0C-4D0C-BC07-BF269343361A}">
      <dsp:nvSpPr>
        <dsp:cNvPr id="0" name=""/>
        <dsp:cNvSpPr/>
      </dsp:nvSpPr>
      <dsp:spPr>
        <a:xfrm>
          <a:off x="7990185" y="2758901"/>
          <a:ext cx="3631902" cy="217914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400" kern="1200">
              <a:latin typeface="Arial" panose="020B0604020202020204"/>
            </a:rPr>
            <a:t>Business</a:t>
          </a:r>
        </a:p>
      </dsp:txBody>
      <dsp:txXfrm>
        <a:off x="7990185" y="2758901"/>
        <a:ext cx="3631902" cy="21791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68EFCB-C90D-47AA-BA2C-58AE85BB5C99}" type="datetimeFigureOut">
              <a:rPr lang="en-GB" smtClean="0"/>
              <a:t>06/0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0EC525-13AC-4DE5-BF32-7D184AC5F2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16506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Creating the building blocks we needs for a healthy society go beyond the NH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PHS believes that every sector has a contribution to make to primary preventio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In the short-term, progress can be made on </a:t>
            </a:r>
            <a:r>
              <a:rPr lang="en-GB" dirty="0" err="1"/>
              <a:t>maxmising</a:t>
            </a:r>
            <a:r>
              <a:rPr lang="en-GB" dirty="0"/>
              <a:t> the impact of the public sector as anchor organisations, but that’s just a star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Longer-term we need to redesign the way the system works, pulling our collective resources to provide the best possible services for Scotland’s communiti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2A4680-C137-405C-9576-F4C26A4C629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0289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739743" y="81761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Title of presentation goes her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38717" y="2319338"/>
            <a:ext cx="10515600" cy="12255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uthor / date</a:t>
            </a:r>
          </a:p>
        </p:txBody>
      </p:sp>
    </p:spTree>
    <p:extLst>
      <p:ext uri="{BB962C8B-B14F-4D97-AF65-F5344CB8AC3E}">
        <p14:creationId xmlns:p14="http://schemas.microsoft.com/office/powerpoint/2010/main" val="21682284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urple slide">
    <p:bg>
      <p:bgPr>
        <a:solidFill>
          <a:srgbClr val="7030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0216" y="4927703"/>
            <a:ext cx="10515600" cy="721993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28580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ark blue slide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0216" y="4927703"/>
            <a:ext cx="10515600" cy="721993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938963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24973A2-8A94-4750-9970-274052723F35}"/>
              </a:ext>
            </a:extLst>
          </p:cNvPr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rgbClr val="4235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itle 27">
            <a:extLst>
              <a:ext uri="{FF2B5EF4-FFF2-40B4-BE49-F238E27FC236}">
                <a16:creationId xmlns:a16="http://schemas.microsoft.com/office/drawing/2014/main" id="{E0BF9B4F-05D7-4A7F-8A10-13B63526B9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303" y="9729"/>
            <a:ext cx="11640847" cy="828000"/>
          </a:xfrm>
          <a:prstGeom prst="rect">
            <a:avLst/>
          </a:prstGeom>
        </p:spPr>
        <p:txBody>
          <a:bodyPr anchor="ctr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530BB95-30AF-4277-B81D-0E35C31573B9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01558" y="1132354"/>
            <a:ext cx="11605138" cy="5044609"/>
          </a:xfrm>
          <a:prstGeom prst="rect">
            <a:avLst/>
          </a:prstGeom>
        </p:spPr>
        <p:txBody>
          <a:bodyPr t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Bullet</a:t>
            </a:r>
          </a:p>
          <a:p>
            <a:pPr lvl="1"/>
            <a:r>
              <a:rPr lang="en-US"/>
              <a:t>Sub bullet</a:t>
            </a:r>
          </a:p>
          <a:p>
            <a:pPr lvl="2"/>
            <a:r>
              <a:rPr lang="en-US"/>
              <a:t>Sub </a:t>
            </a:r>
            <a:r>
              <a:rPr lang="en-US" err="1"/>
              <a:t>sub</a:t>
            </a:r>
            <a:endParaRPr lang="en-US"/>
          </a:p>
          <a:p>
            <a:pPr lvl="3"/>
            <a:r>
              <a:rPr lang="en-US"/>
              <a:t>Sub </a:t>
            </a:r>
            <a:r>
              <a:rPr lang="en-US" err="1"/>
              <a:t>Sub</a:t>
            </a:r>
            <a:r>
              <a:rPr lang="en-US"/>
              <a:t> </a:t>
            </a:r>
            <a:r>
              <a:rPr lang="en-US" err="1"/>
              <a:t>Sub</a:t>
            </a:r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1221282-9CB3-4AAF-8F1F-4772B59102A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04466" y="6224701"/>
            <a:ext cx="11621685" cy="574200"/>
            <a:chOff x="-3049777" y="5949315"/>
            <a:chExt cx="14956473" cy="738964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E0B9CB8-08C8-46BD-81F2-2057AAE6DF3F}"/>
                </a:ext>
              </a:extLst>
            </p:cNvPr>
            <p:cNvGrpSpPr/>
            <p:nvPr userDrawn="1"/>
          </p:nvGrpSpPr>
          <p:grpSpPr>
            <a:xfrm>
              <a:off x="10347074" y="5949315"/>
              <a:ext cx="1559622" cy="738964"/>
              <a:chOff x="10531859" y="5943600"/>
              <a:chExt cx="1559622" cy="738964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12F7492E-8CA0-499F-B0AE-60723C915B9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/>
              <a:srcRect l="7060" b="6701"/>
              <a:stretch/>
            </p:blipFill>
            <p:spPr>
              <a:xfrm>
                <a:off x="10974659" y="5943600"/>
                <a:ext cx="740345" cy="738964"/>
              </a:xfrm>
              <a:prstGeom prst="rect">
                <a:avLst/>
              </a:prstGeom>
            </p:spPr>
          </p:pic>
          <p:sp>
            <p:nvSpPr>
              <p:cNvPr id="21" name="Rectangle: Rounded Corners 6">
                <a:extLst>
                  <a:ext uri="{FF2B5EF4-FFF2-40B4-BE49-F238E27FC236}">
                    <a16:creationId xmlns:a16="http://schemas.microsoft.com/office/drawing/2014/main" id="{16CBD92E-3C47-47CD-AE51-280FA7769C0F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0531859" y="6316892"/>
                <a:ext cx="469962" cy="61200"/>
              </a:xfrm>
              <a:custGeom>
                <a:avLst/>
                <a:gdLst>
                  <a:gd name="connsiteX0" fmla="*/ 0 w 4122259"/>
                  <a:gd name="connsiteY0" fmla="*/ 252000 h 504000"/>
                  <a:gd name="connsiteX1" fmla="*/ 252000 w 4122259"/>
                  <a:gd name="connsiteY1" fmla="*/ 0 h 504000"/>
                  <a:gd name="connsiteX2" fmla="*/ 3870259 w 4122259"/>
                  <a:gd name="connsiteY2" fmla="*/ 0 h 504000"/>
                  <a:gd name="connsiteX3" fmla="*/ 4122259 w 4122259"/>
                  <a:gd name="connsiteY3" fmla="*/ 252000 h 504000"/>
                  <a:gd name="connsiteX4" fmla="*/ 4122259 w 4122259"/>
                  <a:gd name="connsiteY4" fmla="*/ 252000 h 504000"/>
                  <a:gd name="connsiteX5" fmla="*/ 3870259 w 4122259"/>
                  <a:gd name="connsiteY5" fmla="*/ 504000 h 504000"/>
                  <a:gd name="connsiteX6" fmla="*/ 252000 w 4122259"/>
                  <a:gd name="connsiteY6" fmla="*/ 504000 h 504000"/>
                  <a:gd name="connsiteX7" fmla="*/ 0 w 4122259"/>
                  <a:gd name="connsiteY7" fmla="*/ 252000 h 504000"/>
                  <a:gd name="connsiteX0" fmla="*/ 0 w 4122259"/>
                  <a:gd name="connsiteY0" fmla="*/ 252000 h 504000"/>
                  <a:gd name="connsiteX1" fmla="*/ 252000 w 4122259"/>
                  <a:gd name="connsiteY1" fmla="*/ 0 h 504000"/>
                  <a:gd name="connsiteX2" fmla="*/ 3870259 w 4122259"/>
                  <a:gd name="connsiteY2" fmla="*/ 0 h 504000"/>
                  <a:gd name="connsiteX3" fmla="*/ 4122259 w 4122259"/>
                  <a:gd name="connsiteY3" fmla="*/ 252000 h 504000"/>
                  <a:gd name="connsiteX4" fmla="*/ 3767929 w 4122259"/>
                  <a:gd name="connsiteY4" fmla="*/ 175800 h 504000"/>
                  <a:gd name="connsiteX5" fmla="*/ 3870259 w 4122259"/>
                  <a:gd name="connsiteY5" fmla="*/ 504000 h 504000"/>
                  <a:gd name="connsiteX6" fmla="*/ 252000 w 4122259"/>
                  <a:gd name="connsiteY6" fmla="*/ 504000 h 504000"/>
                  <a:gd name="connsiteX7" fmla="*/ 0 w 4122259"/>
                  <a:gd name="connsiteY7" fmla="*/ 252000 h 504000"/>
                  <a:gd name="connsiteX0" fmla="*/ 0 w 4106580"/>
                  <a:gd name="connsiteY0" fmla="*/ 252000 h 504000"/>
                  <a:gd name="connsiteX1" fmla="*/ 252000 w 4106580"/>
                  <a:gd name="connsiteY1" fmla="*/ 0 h 504000"/>
                  <a:gd name="connsiteX2" fmla="*/ 3870259 w 4106580"/>
                  <a:gd name="connsiteY2" fmla="*/ 0 h 504000"/>
                  <a:gd name="connsiteX3" fmla="*/ 3767929 w 4106580"/>
                  <a:gd name="connsiteY3" fmla="*/ 175800 h 504000"/>
                  <a:gd name="connsiteX4" fmla="*/ 3870259 w 4106580"/>
                  <a:gd name="connsiteY4" fmla="*/ 504000 h 504000"/>
                  <a:gd name="connsiteX5" fmla="*/ 252000 w 4106580"/>
                  <a:gd name="connsiteY5" fmla="*/ 504000 h 504000"/>
                  <a:gd name="connsiteX6" fmla="*/ 0 w 4106580"/>
                  <a:gd name="connsiteY6" fmla="*/ 252000 h 504000"/>
                  <a:gd name="connsiteX0" fmla="*/ 0 w 4078804"/>
                  <a:gd name="connsiteY0" fmla="*/ 252000 h 504000"/>
                  <a:gd name="connsiteX1" fmla="*/ 252000 w 4078804"/>
                  <a:gd name="connsiteY1" fmla="*/ 0 h 504000"/>
                  <a:gd name="connsiteX2" fmla="*/ 3870259 w 4078804"/>
                  <a:gd name="connsiteY2" fmla="*/ 0 h 504000"/>
                  <a:gd name="connsiteX3" fmla="*/ 3621244 w 4078804"/>
                  <a:gd name="connsiteY3" fmla="*/ 246285 h 504000"/>
                  <a:gd name="connsiteX4" fmla="*/ 3870259 w 4078804"/>
                  <a:gd name="connsiteY4" fmla="*/ 504000 h 504000"/>
                  <a:gd name="connsiteX5" fmla="*/ 252000 w 4078804"/>
                  <a:gd name="connsiteY5" fmla="*/ 504000 h 504000"/>
                  <a:gd name="connsiteX6" fmla="*/ 0 w 4078804"/>
                  <a:gd name="connsiteY6" fmla="*/ 252000 h 504000"/>
                  <a:gd name="connsiteX0" fmla="*/ 0 w 3900385"/>
                  <a:gd name="connsiteY0" fmla="*/ 252000 h 504000"/>
                  <a:gd name="connsiteX1" fmla="*/ 252000 w 3900385"/>
                  <a:gd name="connsiteY1" fmla="*/ 0 h 504000"/>
                  <a:gd name="connsiteX2" fmla="*/ 3870259 w 3900385"/>
                  <a:gd name="connsiteY2" fmla="*/ 0 h 504000"/>
                  <a:gd name="connsiteX3" fmla="*/ 3621244 w 3900385"/>
                  <a:gd name="connsiteY3" fmla="*/ 246285 h 504000"/>
                  <a:gd name="connsiteX4" fmla="*/ 3870259 w 3900385"/>
                  <a:gd name="connsiteY4" fmla="*/ 504000 h 504000"/>
                  <a:gd name="connsiteX5" fmla="*/ 252000 w 3900385"/>
                  <a:gd name="connsiteY5" fmla="*/ 504000 h 504000"/>
                  <a:gd name="connsiteX6" fmla="*/ 0 w 3900385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70259" h="504000">
                    <a:moveTo>
                      <a:pt x="0" y="252000"/>
                    </a:moveTo>
                    <a:cubicBezTo>
                      <a:pt x="0" y="112824"/>
                      <a:pt x="112824" y="0"/>
                      <a:pt x="252000" y="0"/>
                    </a:cubicBezTo>
                    <a:lnTo>
                      <a:pt x="3870259" y="0"/>
                    </a:lnTo>
                    <a:cubicBezTo>
                      <a:pt x="3747587" y="4535"/>
                      <a:pt x="3621244" y="127995"/>
                      <a:pt x="3621244" y="246285"/>
                    </a:cubicBezTo>
                    <a:cubicBezTo>
                      <a:pt x="3621244" y="370221"/>
                      <a:pt x="3748450" y="502095"/>
                      <a:pt x="3870259" y="504000"/>
                    </a:cubicBezTo>
                    <a:lnTo>
                      <a:pt x="252000" y="504000"/>
                    </a:lnTo>
                    <a:cubicBezTo>
                      <a:pt x="112824" y="504000"/>
                      <a:pt x="0" y="391176"/>
                      <a:pt x="0" y="252000"/>
                    </a:cubicBezTo>
                    <a:close/>
                  </a:path>
                </a:pathLst>
              </a:custGeom>
              <a:solidFill>
                <a:srgbClr val="9B42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2" name="Rectangle: Rounded Corners 6">
                <a:extLst>
                  <a:ext uri="{FF2B5EF4-FFF2-40B4-BE49-F238E27FC236}">
                    <a16:creationId xmlns:a16="http://schemas.microsoft.com/office/drawing/2014/main" id="{0978A9E6-F25A-4FF2-8F1C-6F816977AF2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 rot="10800000">
                <a:off x="11621519" y="6316892"/>
                <a:ext cx="469962" cy="61200"/>
              </a:xfrm>
              <a:custGeom>
                <a:avLst/>
                <a:gdLst>
                  <a:gd name="connsiteX0" fmla="*/ 0 w 4122259"/>
                  <a:gd name="connsiteY0" fmla="*/ 252000 h 504000"/>
                  <a:gd name="connsiteX1" fmla="*/ 252000 w 4122259"/>
                  <a:gd name="connsiteY1" fmla="*/ 0 h 504000"/>
                  <a:gd name="connsiteX2" fmla="*/ 3870259 w 4122259"/>
                  <a:gd name="connsiteY2" fmla="*/ 0 h 504000"/>
                  <a:gd name="connsiteX3" fmla="*/ 4122259 w 4122259"/>
                  <a:gd name="connsiteY3" fmla="*/ 252000 h 504000"/>
                  <a:gd name="connsiteX4" fmla="*/ 4122259 w 4122259"/>
                  <a:gd name="connsiteY4" fmla="*/ 252000 h 504000"/>
                  <a:gd name="connsiteX5" fmla="*/ 3870259 w 4122259"/>
                  <a:gd name="connsiteY5" fmla="*/ 504000 h 504000"/>
                  <a:gd name="connsiteX6" fmla="*/ 252000 w 4122259"/>
                  <a:gd name="connsiteY6" fmla="*/ 504000 h 504000"/>
                  <a:gd name="connsiteX7" fmla="*/ 0 w 4122259"/>
                  <a:gd name="connsiteY7" fmla="*/ 252000 h 504000"/>
                  <a:gd name="connsiteX0" fmla="*/ 0 w 4122259"/>
                  <a:gd name="connsiteY0" fmla="*/ 252000 h 504000"/>
                  <a:gd name="connsiteX1" fmla="*/ 252000 w 4122259"/>
                  <a:gd name="connsiteY1" fmla="*/ 0 h 504000"/>
                  <a:gd name="connsiteX2" fmla="*/ 3870259 w 4122259"/>
                  <a:gd name="connsiteY2" fmla="*/ 0 h 504000"/>
                  <a:gd name="connsiteX3" fmla="*/ 4122259 w 4122259"/>
                  <a:gd name="connsiteY3" fmla="*/ 252000 h 504000"/>
                  <a:gd name="connsiteX4" fmla="*/ 3767929 w 4122259"/>
                  <a:gd name="connsiteY4" fmla="*/ 175800 h 504000"/>
                  <a:gd name="connsiteX5" fmla="*/ 3870259 w 4122259"/>
                  <a:gd name="connsiteY5" fmla="*/ 504000 h 504000"/>
                  <a:gd name="connsiteX6" fmla="*/ 252000 w 4122259"/>
                  <a:gd name="connsiteY6" fmla="*/ 504000 h 504000"/>
                  <a:gd name="connsiteX7" fmla="*/ 0 w 4122259"/>
                  <a:gd name="connsiteY7" fmla="*/ 252000 h 504000"/>
                  <a:gd name="connsiteX0" fmla="*/ 0 w 4106580"/>
                  <a:gd name="connsiteY0" fmla="*/ 252000 h 504000"/>
                  <a:gd name="connsiteX1" fmla="*/ 252000 w 4106580"/>
                  <a:gd name="connsiteY1" fmla="*/ 0 h 504000"/>
                  <a:gd name="connsiteX2" fmla="*/ 3870259 w 4106580"/>
                  <a:gd name="connsiteY2" fmla="*/ 0 h 504000"/>
                  <a:gd name="connsiteX3" fmla="*/ 3767929 w 4106580"/>
                  <a:gd name="connsiteY3" fmla="*/ 175800 h 504000"/>
                  <a:gd name="connsiteX4" fmla="*/ 3870259 w 4106580"/>
                  <a:gd name="connsiteY4" fmla="*/ 504000 h 504000"/>
                  <a:gd name="connsiteX5" fmla="*/ 252000 w 4106580"/>
                  <a:gd name="connsiteY5" fmla="*/ 504000 h 504000"/>
                  <a:gd name="connsiteX6" fmla="*/ 0 w 4106580"/>
                  <a:gd name="connsiteY6" fmla="*/ 252000 h 504000"/>
                  <a:gd name="connsiteX0" fmla="*/ 0 w 4078804"/>
                  <a:gd name="connsiteY0" fmla="*/ 252000 h 504000"/>
                  <a:gd name="connsiteX1" fmla="*/ 252000 w 4078804"/>
                  <a:gd name="connsiteY1" fmla="*/ 0 h 504000"/>
                  <a:gd name="connsiteX2" fmla="*/ 3870259 w 4078804"/>
                  <a:gd name="connsiteY2" fmla="*/ 0 h 504000"/>
                  <a:gd name="connsiteX3" fmla="*/ 3621244 w 4078804"/>
                  <a:gd name="connsiteY3" fmla="*/ 246285 h 504000"/>
                  <a:gd name="connsiteX4" fmla="*/ 3870259 w 4078804"/>
                  <a:gd name="connsiteY4" fmla="*/ 504000 h 504000"/>
                  <a:gd name="connsiteX5" fmla="*/ 252000 w 4078804"/>
                  <a:gd name="connsiteY5" fmla="*/ 504000 h 504000"/>
                  <a:gd name="connsiteX6" fmla="*/ 0 w 4078804"/>
                  <a:gd name="connsiteY6" fmla="*/ 252000 h 504000"/>
                  <a:gd name="connsiteX0" fmla="*/ 0 w 3900385"/>
                  <a:gd name="connsiteY0" fmla="*/ 252000 h 504000"/>
                  <a:gd name="connsiteX1" fmla="*/ 252000 w 3900385"/>
                  <a:gd name="connsiteY1" fmla="*/ 0 h 504000"/>
                  <a:gd name="connsiteX2" fmla="*/ 3870259 w 3900385"/>
                  <a:gd name="connsiteY2" fmla="*/ 0 h 504000"/>
                  <a:gd name="connsiteX3" fmla="*/ 3621244 w 3900385"/>
                  <a:gd name="connsiteY3" fmla="*/ 246285 h 504000"/>
                  <a:gd name="connsiteX4" fmla="*/ 3870259 w 3900385"/>
                  <a:gd name="connsiteY4" fmla="*/ 504000 h 504000"/>
                  <a:gd name="connsiteX5" fmla="*/ 252000 w 3900385"/>
                  <a:gd name="connsiteY5" fmla="*/ 504000 h 504000"/>
                  <a:gd name="connsiteX6" fmla="*/ 0 w 3900385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  <a:gd name="connsiteX0" fmla="*/ 0 w 3870259"/>
                  <a:gd name="connsiteY0" fmla="*/ 252000 h 504000"/>
                  <a:gd name="connsiteX1" fmla="*/ 252000 w 3870259"/>
                  <a:gd name="connsiteY1" fmla="*/ 0 h 504000"/>
                  <a:gd name="connsiteX2" fmla="*/ 3870259 w 3870259"/>
                  <a:gd name="connsiteY2" fmla="*/ 0 h 504000"/>
                  <a:gd name="connsiteX3" fmla="*/ 3621244 w 3870259"/>
                  <a:gd name="connsiteY3" fmla="*/ 246285 h 504000"/>
                  <a:gd name="connsiteX4" fmla="*/ 3870259 w 3870259"/>
                  <a:gd name="connsiteY4" fmla="*/ 504000 h 504000"/>
                  <a:gd name="connsiteX5" fmla="*/ 252000 w 3870259"/>
                  <a:gd name="connsiteY5" fmla="*/ 504000 h 504000"/>
                  <a:gd name="connsiteX6" fmla="*/ 0 w 3870259"/>
                  <a:gd name="connsiteY6" fmla="*/ 252000 h 50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70259" h="504000">
                    <a:moveTo>
                      <a:pt x="0" y="252000"/>
                    </a:moveTo>
                    <a:cubicBezTo>
                      <a:pt x="0" y="112824"/>
                      <a:pt x="112824" y="0"/>
                      <a:pt x="252000" y="0"/>
                    </a:cubicBezTo>
                    <a:lnTo>
                      <a:pt x="3870259" y="0"/>
                    </a:lnTo>
                    <a:cubicBezTo>
                      <a:pt x="3747587" y="4535"/>
                      <a:pt x="3621244" y="127995"/>
                      <a:pt x="3621244" y="246285"/>
                    </a:cubicBezTo>
                    <a:cubicBezTo>
                      <a:pt x="3621244" y="370221"/>
                      <a:pt x="3748450" y="502095"/>
                      <a:pt x="3870259" y="504000"/>
                    </a:cubicBezTo>
                    <a:lnTo>
                      <a:pt x="252000" y="504000"/>
                    </a:lnTo>
                    <a:cubicBezTo>
                      <a:pt x="112824" y="504000"/>
                      <a:pt x="0" y="391176"/>
                      <a:pt x="0" y="252000"/>
                    </a:cubicBezTo>
                    <a:close/>
                  </a:path>
                </a:pathLst>
              </a:custGeom>
              <a:solidFill>
                <a:srgbClr val="9B429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7A8FE481-77A4-4E12-B896-E46FCC6C67A1}"/>
                </a:ext>
              </a:extLst>
            </p:cNvPr>
            <p:cNvSpPr/>
            <p:nvPr userDrawn="1"/>
          </p:nvSpPr>
          <p:spPr>
            <a:xfrm>
              <a:off x="-3049777" y="6322810"/>
              <a:ext cx="13574699" cy="61199"/>
            </a:xfrm>
            <a:prstGeom prst="roundRect">
              <a:avLst>
                <a:gd name="adj" fmla="val 50000"/>
              </a:avLst>
            </a:prstGeom>
            <a:solidFill>
              <a:srgbClr val="9B42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076124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/ sub 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Bullet</a:t>
            </a:r>
          </a:p>
          <a:p>
            <a:pPr lvl="1"/>
            <a:r>
              <a:rPr lang="en-US" dirty="0"/>
              <a:t>Sub bullet</a:t>
            </a:r>
          </a:p>
        </p:txBody>
      </p:sp>
    </p:spTree>
    <p:extLst>
      <p:ext uri="{BB962C8B-B14F-4D97-AF65-F5344CB8AC3E}">
        <p14:creationId xmlns:p14="http://schemas.microsoft.com/office/powerpoint/2010/main" val="10293643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-column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8"/>
            <a:ext cx="5156200" cy="40095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0" y="1825628"/>
            <a:ext cx="5156200" cy="40095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533653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97336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1466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0317" y="457201"/>
            <a:ext cx="10515600" cy="900260"/>
          </a:xfrm>
        </p:spPr>
        <p:txBody>
          <a:bodyPr anchor="b">
            <a:noAutofit/>
          </a:bodyPr>
          <a:lstStyle>
            <a:lvl1pPr>
              <a:defRPr sz="3000"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1696828"/>
            <a:ext cx="6172200" cy="41642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40319" y="1696826"/>
            <a:ext cx="3932767" cy="4172163"/>
          </a:xfrm>
        </p:spPr>
        <p:txBody>
          <a:bodyPr>
            <a:normAutofit/>
          </a:bodyPr>
          <a:lstStyle>
            <a:lvl1pPr marL="0" indent="0">
              <a:buNone/>
              <a:defRPr sz="2400" baseline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Text /caption</a:t>
            </a:r>
          </a:p>
        </p:txBody>
      </p:sp>
    </p:spTree>
    <p:extLst>
      <p:ext uri="{BB962C8B-B14F-4D97-AF65-F5344CB8AC3E}">
        <p14:creationId xmlns:p14="http://schemas.microsoft.com/office/powerpoint/2010/main" val="106982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out cap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0317" y="457201"/>
            <a:ext cx="10515600" cy="900260"/>
          </a:xfrm>
        </p:spPr>
        <p:txBody>
          <a:bodyPr anchor="b">
            <a:noAutofit/>
          </a:bodyPr>
          <a:lstStyle>
            <a:lvl1pPr>
              <a:defRPr sz="3000"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40317" y="1696828"/>
            <a:ext cx="10515600" cy="41642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00744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 slide"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0216" y="4927703"/>
            <a:ext cx="10515600" cy="721993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915802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green slide">
    <p:bg>
      <p:bgPr>
        <a:solidFill>
          <a:srgbClr val="92D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0216" y="4927703"/>
            <a:ext cx="10515600" cy="721993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3036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51976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3" r:id="rId3"/>
    <p:sldLayoutId id="2147483685" r:id="rId4"/>
    <p:sldLayoutId id="2147483686" r:id="rId5"/>
    <p:sldLayoutId id="2147483688" r:id="rId6"/>
    <p:sldLayoutId id="2147483689" r:id="rId7"/>
    <p:sldLayoutId id="2147483673" r:id="rId8"/>
    <p:sldLayoutId id="2147483674" r:id="rId9"/>
    <p:sldLayoutId id="2147483675" r:id="rId10"/>
    <p:sldLayoutId id="2147483676" r:id="rId11"/>
    <p:sldLayoutId id="2147483690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8" Type="http://schemas.openxmlformats.org/officeDocument/2006/relationships/tags" Target="../tags/tag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mailto:Stephen.bridgman@phs.scot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package" Target="../embeddings/Microsoft_Excel_Worksheet4.xlsx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 Injury Surveillance in Scotland:</a:t>
            </a:r>
            <a:br>
              <a:rPr lang="en-GB" dirty="0"/>
            </a:br>
            <a:r>
              <a:rPr lang="en-GB" dirty="0"/>
              <a:t> Health Service Contribution</a:t>
            </a: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38717" y="2247901"/>
            <a:ext cx="10515600" cy="1703314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en-GB" dirty="0"/>
              <a:t>Stephen Bridgman (</a:t>
            </a:r>
            <a:r>
              <a:rPr lang="en-GB" sz="1900" dirty="0"/>
              <a:t>Clinical lead for injury</a:t>
            </a:r>
            <a:r>
              <a:rPr lang="en-GB" dirty="0"/>
              <a:t>), </a:t>
            </a:r>
          </a:p>
          <a:p>
            <a:pPr algn="ctr"/>
            <a:r>
              <a:rPr lang="en-GB" dirty="0"/>
              <a:t>with John Connor,  Sandra Storrie, and Emma Doyle </a:t>
            </a:r>
            <a:r>
              <a:rPr lang="en-GB" sz="1700" dirty="0"/>
              <a:t>Public Health Scotland</a:t>
            </a:r>
          </a:p>
          <a:p>
            <a:endParaRPr lang="en-GB" dirty="0"/>
          </a:p>
          <a:p>
            <a:pPr algn="ctr"/>
            <a:r>
              <a:rPr lang="en-GB" dirty="0"/>
              <a:t>Cross Party Group on Accident Prevention and Safety Awareness</a:t>
            </a:r>
          </a:p>
          <a:p>
            <a:pPr algn="ctr"/>
            <a:r>
              <a:rPr lang="en-GB" dirty="0"/>
              <a:t>6</a:t>
            </a:r>
            <a:r>
              <a:rPr lang="en-GB" baseline="30000" dirty="0"/>
              <a:t>th</a:t>
            </a:r>
            <a:r>
              <a:rPr lang="en-GB" dirty="0"/>
              <a:t> February 2024</a:t>
            </a:r>
          </a:p>
        </p:txBody>
      </p:sp>
    </p:spTree>
    <p:extLst>
      <p:ext uri="{BB962C8B-B14F-4D97-AF65-F5344CB8AC3E}">
        <p14:creationId xmlns:p14="http://schemas.microsoft.com/office/powerpoint/2010/main" val="10580486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5B368D-94B7-4339-97CD-EC381D8A6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4178"/>
            <a:ext cx="10515600" cy="1325563"/>
          </a:xfrm>
        </p:spPr>
        <p:txBody>
          <a:bodyPr/>
          <a:lstStyle/>
          <a:p>
            <a:r>
              <a:rPr lang="en-GB" dirty="0"/>
              <a:t>Hospital Admissions in Scotland 2021-22 and 2022-23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5FD51E2E-019E-47E0-8B81-A137C29AD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A847630F-B5A0-62F8-C900-EC1A0B0596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5773257"/>
              </p:ext>
            </p:extLst>
          </p:nvPr>
        </p:nvGraphicFramePr>
        <p:xfrm>
          <a:off x="1152524" y="1876424"/>
          <a:ext cx="10201275" cy="38385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139369">
                  <a:extLst>
                    <a:ext uri="{9D8B030D-6E8A-4147-A177-3AD203B41FA5}">
                      <a16:colId xmlns:a16="http://schemas.microsoft.com/office/drawing/2014/main" val="2005039569"/>
                    </a:ext>
                  </a:extLst>
                </a:gridCol>
                <a:gridCol w="1627863">
                  <a:extLst>
                    <a:ext uri="{9D8B030D-6E8A-4147-A177-3AD203B41FA5}">
                      <a16:colId xmlns:a16="http://schemas.microsoft.com/office/drawing/2014/main" val="4243466740"/>
                    </a:ext>
                  </a:extLst>
                </a:gridCol>
                <a:gridCol w="2434043">
                  <a:extLst>
                    <a:ext uri="{9D8B030D-6E8A-4147-A177-3AD203B41FA5}">
                      <a16:colId xmlns:a16="http://schemas.microsoft.com/office/drawing/2014/main" val="3574699955"/>
                    </a:ext>
                  </a:extLst>
                </a:gridCol>
              </a:tblGrid>
              <a:tr h="959644"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u="none" strike="noStrike" dirty="0">
                          <a:effectLst/>
                        </a:rPr>
                        <a:t>Year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400" u="none" strike="noStrike">
                          <a:effectLst/>
                        </a:rPr>
                        <a:t>2021-22</a:t>
                      </a:r>
                      <a:endParaRPr lang="en-GB" sz="2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400" u="none" strike="noStrike">
                          <a:effectLst/>
                        </a:rPr>
                        <a:t>2022-23</a:t>
                      </a:r>
                      <a:endParaRPr lang="en-GB" sz="2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936601913"/>
                  </a:ext>
                </a:extLst>
              </a:tr>
              <a:tr h="959644"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u="none" strike="noStrike" dirty="0">
                          <a:effectLst/>
                        </a:rPr>
                        <a:t>Hospital Admissions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400" u="none" strike="noStrike">
                          <a:effectLst/>
                        </a:rPr>
                        <a:t>1,060,041</a:t>
                      </a:r>
                      <a:endParaRPr lang="en-GB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400" u="none" strike="noStrike">
                          <a:effectLst/>
                        </a:rPr>
                        <a:t>1,092,413</a:t>
                      </a:r>
                      <a:endParaRPr lang="en-GB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50166812"/>
                  </a:ext>
                </a:extLst>
              </a:tr>
              <a:tr h="959644"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u="none" strike="noStrike" dirty="0">
                          <a:effectLst/>
                        </a:rPr>
                        <a:t>Emergency Hospital Admissions</a:t>
                      </a:r>
                      <a:endParaRPr lang="en-GB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400" u="none" strike="noStrike">
                          <a:effectLst/>
                        </a:rPr>
                        <a:t>570,857</a:t>
                      </a:r>
                      <a:endParaRPr lang="en-GB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400" u="none" strike="noStrike">
                          <a:effectLst/>
                        </a:rPr>
                        <a:t>557,681</a:t>
                      </a:r>
                      <a:endParaRPr lang="en-GB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73489821"/>
                  </a:ext>
                </a:extLst>
              </a:tr>
              <a:tr h="959644"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u="none" strike="noStrike" dirty="0">
                          <a:effectLst/>
                        </a:rPr>
                        <a:t>Emergency Injury Hospital Admissions </a:t>
                      </a:r>
                    </a:p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1 in 100 Scots admitted every year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400" u="none" strike="noStrike">
                          <a:effectLst/>
                        </a:rPr>
                        <a:t>57,272</a:t>
                      </a:r>
                      <a:endParaRPr lang="en-GB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2400" u="none" strike="noStrike" dirty="0">
                          <a:effectLst/>
                        </a:rPr>
                        <a:t>54,709</a:t>
                      </a:r>
                      <a:endParaRPr lang="en-GB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5150680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7915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1F44D7-1FAB-3847-0CE5-E186C083E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" y="342900"/>
            <a:ext cx="11063773" cy="561975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algn="ctr"/>
            <a:r>
              <a:rPr lang="en-GB" dirty="0"/>
              <a:t>	PHS Annual Unintentional Injuries Report 2022-23, </a:t>
            </a:r>
            <a:br>
              <a:rPr lang="en-GB" dirty="0"/>
            </a:br>
            <a:r>
              <a:rPr lang="en-GB" dirty="0"/>
              <a:t>events and external causes of injury, Scotlan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C286EA6-EF46-65C3-1F0C-E6AC766F9D35}"/>
              </a:ext>
            </a:extLst>
          </p:cNvPr>
          <p:cNvSpPr txBox="1"/>
          <p:nvPr/>
        </p:nvSpPr>
        <p:spPr>
          <a:xfrm>
            <a:off x="0" y="1603520"/>
            <a:ext cx="3946849" cy="4172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indent="-342900" defTabSz="685800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en-US" sz="2400" kern="1200" baseline="0" dirty="0"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4,709 emergency admissions for unintentional injuries, about 10% of all emergency admissions</a:t>
            </a:r>
          </a:p>
          <a:p>
            <a:pPr marL="342900" indent="-342900" defTabSz="685800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endParaRPr lang="en-US" sz="2400" kern="1200" baseline="0" dirty="0"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indent="-342900" defTabSz="685800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tabLst>
                <a:tab pos="228600" algn="l"/>
                <a:tab pos="457200" algn="l"/>
              </a:tabLst>
            </a:pPr>
            <a:r>
              <a:rPr lang="en-US" sz="2400" kern="1200" baseline="0" dirty="0"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2022, unintentional injuries led to 2,677 death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DCAF4B8-ADD1-AF96-9FF2-589F784AE6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5300" y="1259347"/>
            <a:ext cx="7886699" cy="417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523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3E217-ED45-E371-B319-E9691EBCE7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sz="3200" dirty="0"/>
              <a:t>Location of hospital admissions for injury caused by a fall (N=36050), Scotland 2022/23, all sexes</a:t>
            </a:r>
            <a:endParaRPr lang="en-GB" dirty="0"/>
          </a:p>
        </p:txBody>
      </p:sp>
      <p:graphicFrame>
        <p:nvGraphicFramePr>
          <p:cNvPr id="4" name="Picture Placeholder 3">
            <a:extLst>
              <a:ext uri="{FF2B5EF4-FFF2-40B4-BE49-F238E27FC236}">
                <a16:creationId xmlns:a16="http://schemas.microsoft.com/office/drawing/2014/main" id="{F00732D8-1F14-05F0-BCDA-2D9C8FE145BF}"/>
              </a:ext>
            </a:extLst>
          </p:cNvPr>
          <p:cNvGraphicFramePr>
            <a:graphicFrameLocks noGrp="1"/>
          </p:cNvGraphicFramePr>
          <p:nvPr>
            <p:ph type="pic" idx="1"/>
            <p:extLst>
              <p:ext uri="{D42A27DB-BD31-4B8C-83A1-F6EECF244321}">
                <p14:modId xmlns:p14="http://schemas.microsoft.com/office/powerpoint/2010/main" val="4273959211"/>
              </p:ext>
            </p:extLst>
          </p:nvPr>
        </p:nvGraphicFramePr>
        <p:xfrm>
          <a:off x="839788" y="1717358"/>
          <a:ext cx="10515600" cy="4164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317236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81DC4650-B73B-770E-4EBD-1DEDE579955C}"/>
              </a:ext>
            </a:extLst>
          </p:cNvPr>
          <p:cNvGraphicFramePr>
            <a:graphicFrameLocks/>
          </p:cNvGraphicFramePr>
          <p:nvPr/>
        </p:nvGraphicFramePr>
        <p:xfrm>
          <a:off x="839788" y="1695450"/>
          <a:ext cx="10515600" cy="4164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D3BF7F-B0C2-9D7B-62EA-3917528EA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457201"/>
            <a:ext cx="10515600" cy="900260"/>
          </a:xfrm>
        </p:spPr>
        <p:txBody>
          <a:bodyPr anchor="b">
            <a:normAutofit/>
          </a:bodyPr>
          <a:lstStyle/>
          <a:p>
            <a:pPr algn="ctr"/>
            <a:r>
              <a:rPr lang="en-GB" sz="2800" dirty="0"/>
              <a:t>Hospital admissions for an injury occurring in the home children 0-4years, 2010-11 to 2022-23 (numbers)</a:t>
            </a:r>
          </a:p>
        </p:txBody>
      </p:sp>
    </p:spTree>
    <p:extLst>
      <p:ext uri="{BB962C8B-B14F-4D97-AF65-F5344CB8AC3E}">
        <p14:creationId xmlns:p14="http://schemas.microsoft.com/office/powerpoint/2010/main" val="39443079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3B815F-0E87-C8E2-0537-80E28380A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sz="2800" dirty="0"/>
              <a:t>Hospital admissions for an injury occurring in the home, older adults 75y and over, (numbers)</a:t>
            </a:r>
          </a:p>
        </p:txBody>
      </p:sp>
      <p:graphicFrame>
        <p:nvGraphicFramePr>
          <p:cNvPr id="7" name="Picture Placeholder 6">
            <a:extLst>
              <a:ext uri="{FF2B5EF4-FFF2-40B4-BE49-F238E27FC236}">
                <a16:creationId xmlns:a16="http://schemas.microsoft.com/office/drawing/2014/main" id="{44A8ABD9-851F-4DA8-B032-84A1E597BBA3}"/>
              </a:ext>
            </a:extLst>
          </p:cNvPr>
          <p:cNvGraphicFramePr>
            <a:graphicFrameLocks noGrp="1"/>
          </p:cNvGraphicFramePr>
          <p:nvPr>
            <p:ph type="pic" idx="1"/>
          </p:nvPr>
        </p:nvGraphicFramePr>
        <p:xfrm>
          <a:off x="839788" y="1697038"/>
          <a:ext cx="10515600" cy="4164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133394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DF407-F601-DEDA-CF50-3F24375A77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457201"/>
            <a:ext cx="10515600" cy="900260"/>
          </a:xfrm>
        </p:spPr>
        <p:txBody>
          <a:bodyPr anchor="b">
            <a:normAutofit fontScale="90000"/>
          </a:bodyPr>
          <a:lstStyle/>
          <a:p>
            <a:pPr algn="ctr"/>
            <a:r>
              <a:rPr lang="en-GB" dirty="0"/>
              <a:t>Hospital admissions for an injury occurring in the home, main diagnoses, 2022/23 (numbers)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91689532-93A8-4A75-871A-8CC064507B3C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10724043"/>
              </p:ext>
            </p:extLst>
          </p:nvPr>
        </p:nvGraphicFramePr>
        <p:xfrm>
          <a:off x="839788" y="1247776"/>
          <a:ext cx="10515600" cy="461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077889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DF407-F601-DEDA-CF50-3F24375A77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457201"/>
            <a:ext cx="10515600" cy="900260"/>
          </a:xfrm>
        </p:spPr>
        <p:txBody>
          <a:bodyPr anchor="b">
            <a:normAutofit fontScale="90000"/>
          </a:bodyPr>
          <a:lstStyle/>
          <a:p>
            <a:pPr algn="ctr"/>
            <a:r>
              <a:rPr lang="en-GB" dirty="0"/>
              <a:t>Hospital admissions for injury from dog bite or strike (W54),</a:t>
            </a:r>
            <a:br>
              <a:rPr lang="en-GB" dirty="0"/>
            </a:br>
            <a:r>
              <a:rPr lang="en-GB" dirty="0"/>
              <a:t> occurring in the home, 2013/2014 to 2022/23 (numbers)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1DF6550-B68F-4043-8318-21E721DBF349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91015268"/>
              </p:ext>
            </p:extLst>
          </p:nvPr>
        </p:nvGraphicFramePr>
        <p:xfrm>
          <a:off x="400050" y="1357462"/>
          <a:ext cx="10955338" cy="45020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353789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535DAF-4843-ABA9-823F-EDDED298D3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457201"/>
            <a:ext cx="10515600" cy="900260"/>
          </a:xfrm>
        </p:spPr>
        <p:txBody>
          <a:bodyPr anchor="b">
            <a:normAutofit fontScale="90000"/>
          </a:bodyPr>
          <a:lstStyle/>
          <a:p>
            <a:pPr algn="ctr"/>
            <a:r>
              <a:rPr lang="en-GB" sz="3200" dirty="0"/>
              <a:t>NHS hospital admissions for all unintentional injuries by deprivation quintile, 2022/23 (standardised discharge ratio)</a:t>
            </a:r>
            <a:endParaRPr lang="en-GB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0000000-0008-0000-0800-000005000000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839788" y="1695450"/>
          <a:ext cx="10515600" cy="4164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307604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E4D120-F66F-2A78-5381-A63E5BCAD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sz="2800" dirty="0">
                <a:effectLst/>
                <a:ea typeface="Calibri" panose="020F0502020204030204" pitchFamily="34" charset="0"/>
              </a:rPr>
              <a:t>What is theoretically possible given the quality and depth of data held.</a:t>
            </a:r>
            <a:br>
              <a:rPr lang="en-GB" sz="2800" dirty="0">
                <a:effectLst/>
                <a:ea typeface="Calibri" panose="020F0502020204030204" pitchFamily="34" charset="0"/>
              </a:rPr>
            </a:br>
            <a:endParaRPr lang="en-GB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6CCD96-1565-43EC-566B-6D2E5C38D6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91"/>
            <a:ext cx="10515600" cy="4872034"/>
          </a:xfrm>
        </p:spPr>
        <p:txBody>
          <a:bodyPr>
            <a:normAutofit/>
          </a:bodyPr>
          <a:lstStyle/>
          <a:p>
            <a:r>
              <a:rPr lang="en-GB" dirty="0"/>
              <a:t> SMR01 Hospital admissions is available from to 1980-2023</a:t>
            </a:r>
          </a:p>
          <a:p>
            <a:r>
              <a:rPr lang="en-GB" dirty="0"/>
              <a:t> More specific causes of injury can be presented e.g. Drownings</a:t>
            </a:r>
          </a:p>
          <a:p>
            <a:r>
              <a:rPr lang="en-GB" dirty="0"/>
              <a:t> Exploring presenting more detailed injury location data;</a:t>
            </a:r>
          </a:p>
          <a:p>
            <a:pPr lvl="1"/>
            <a:r>
              <a:rPr lang="en-GB" dirty="0"/>
              <a:t>Home</a:t>
            </a:r>
          </a:p>
          <a:p>
            <a:pPr lvl="1"/>
            <a:r>
              <a:rPr lang="en-GB" dirty="0"/>
              <a:t>Residential institute</a:t>
            </a:r>
          </a:p>
          <a:p>
            <a:pPr lvl="1"/>
            <a:r>
              <a:rPr lang="en-GB" dirty="0"/>
              <a:t>Street and highway</a:t>
            </a:r>
          </a:p>
          <a:p>
            <a:pPr lvl="1"/>
            <a:r>
              <a:rPr lang="en-GB" dirty="0"/>
              <a:t>School, other institution and public administrative area</a:t>
            </a:r>
          </a:p>
          <a:p>
            <a:pPr lvl="1"/>
            <a:r>
              <a:rPr lang="en-GB" dirty="0"/>
              <a:t>Sports and athletics area</a:t>
            </a:r>
          </a:p>
          <a:p>
            <a:pPr lvl="1"/>
            <a:r>
              <a:rPr lang="en-GB" dirty="0"/>
              <a:t>Industrial and construction area</a:t>
            </a:r>
          </a:p>
          <a:p>
            <a:pPr lvl="1"/>
            <a:r>
              <a:rPr lang="en-GB" dirty="0"/>
              <a:t>Farm</a:t>
            </a:r>
          </a:p>
          <a:p>
            <a:pPr lvl="1"/>
            <a:r>
              <a:rPr lang="en-GB" dirty="0"/>
              <a:t>Other specified places</a:t>
            </a:r>
          </a:p>
          <a:p>
            <a:pPr lvl="1"/>
            <a:r>
              <a:rPr lang="en-GB" dirty="0"/>
              <a:t>Unspecified place</a:t>
            </a:r>
          </a:p>
          <a:p>
            <a:pPr marL="342900" lvl="1" indent="0">
              <a:buNone/>
            </a:pPr>
            <a:r>
              <a:rPr lang="en-GB" dirty="0"/>
              <a:t>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26234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ECEAD-28D4-F0B6-DA7A-3C5EC10022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Annual Unintentional injuries reports – </a:t>
            </a:r>
            <a:br>
              <a:rPr lang="en-GB" dirty="0"/>
            </a:br>
            <a:r>
              <a:rPr lang="en-GB" dirty="0"/>
              <a:t>analysis of hospital admissions, and deaths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ABBF6F8-80AD-8070-76E4-F6AC5E8A0F8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39520" y="1848533"/>
            <a:ext cx="8940800" cy="4305521"/>
          </a:xfrm>
        </p:spPr>
      </p:pic>
    </p:spTree>
    <p:extLst>
      <p:ext uri="{BB962C8B-B14F-4D97-AF65-F5344CB8AC3E}">
        <p14:creationId xmlns:p14="http://schemas.microsoft.com/office/powerpoint/2010/main" val="13486201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B0D9934-3B66-015A-D87C-4EA10DD588EA}"/>
              </a:ext>
            </a:extLst>
          </p:cNvPr>
          <p:cNvGrpSpPr>
            <a:grpSpLocks noChangeAspect="1"/>
          </p:cNvGrpSpPr>
          <p:nvPr/>
        </p:nvGrpSpPr>
        <p:grpSpPr>
          <a:xfrm rot="1620000">
            <a:off x="8069544" y="-126778"/>
            <a:ext cx="3186075" cy="4867890"/>
            <a:chOff x="3834581" y="604480"/>
            <a:chExt cx="3810137" cy="5821373"/>
          </a:xfrm>
          <a:solidFill>
            <a:schemeClr val="accent4">
              <a:alpha val="35000"/>
            </a:schemeClr>
          </a:solidFill>
        </p:grpSpPr>
        <p:sp>
          <p:nvSpPr>
            <p:cNvPr id="9" name="Freeform 2">
              <a:extLst>
                <a:ext uri="{FF2B5EF4-FFF2-40B4-BE49-F238E27FC236}">
                  <a16:creationId xmlns:a16="http://schemas.microsoft.com/office/drawing/2014/main" id="{6CEECB11-2EEC-3667-4102-39CB8724EFC9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>
              <a:off x="5785295" y="5376504"/>
              <a:ext cx="349645" cy="577609"/>
            </a:xfrm>
            <a:custGeom>
              <a:avLst/>
              <a:gdLst/>
              <a:ahLst/>
              <a:cxnLst/>
              <a:rect l="0" t="0" r="0" b="0"/>
              <a:pathLst>
                <a:path w="142937" h="236130">
                  <a:moveTo>
                    <a:pt x="80276" y="28958"/>
                  </a:moveTo>
                  <a:lnTo>
                    <a:pt x="80862" y="28808"/>
                  </a:lnTo>
                  <a:lnTo>
                    <a:pt x="83085" y="36278"/>
                  </a:lnTo>
                  <a:lnTo>
                    <a:pt x="87829" y="46088"/>
                  </a:lnTo>
                  <a:lnTo>
                    <a:pt x="91339" y="50710"/>
                  </a:lnTo>
                  <a:lnTo>
                    <a:pt x="95831" y="55359"/>
                  </a:lnTo>
                  <a:lnTo>
                    <a:pt x="97411" y="59385"/>
                  </a:lnTo>
                  <a:lnTo>
                    <a:pt x="97380" y="62268"/>
                  </a:lnTo>
                  <a:lnTo>
                    <a:pt x="95060" y="66252"/>
                  </a:lnTo>
                  <a:lnTo>
                    <a:pt x="89806" y="72513"/>
                  </a:lnTo>
                  <a:lnTo>
                    <a:pt x="88777" y="77103"/>
                  </a:lnTo>
                  <a:lnTo>
                    <a:pt x="91989" y="80003"/>
                  </a:lnTo>
                  <a:lnTo>
                    <a:pt x="96211" y="80049"/>
                  </a:lnTo>
                  <a:lnTo>
                    <a:pt x="101729" y="80108"/>
                  </a:lnTo>
                  <a:lnTo>
                    <a:pt x="113746" y="80228"/>
                  </a:lnTo>
                  <a:lnTo>
                    <a:pt x="120565" y="79719"/>
                  </a:lnTo>
                  <a:lnTo>
                    <a:pt x="124175" y="75723"/>
                  </a:lnTo>
                  <a:lnTo>
                    <a:pt x="128097" y="72894"/>
                  </a:lnTo>
                  <a:lnTo>
                    <a:pt x="132322" y="72357"/>
                  </a:lnTo>
                  <a:lnTo>
                    <a:pt x="136208" y="73535"/>
                  </a:lnTo>
                  <a:lnTo>
                    <a:pt x="140707" y="79317"/>
                  </a:lnTo>
                  <a:lnTo>
                    <a:pt x="142936" y="85070"/>
                  </a:lnTo>
                  <a:lnTo>
                    <a:pt x="142883" y="91952"/>
                  </a:lnTo>
                  <a:lnTo>
                    <a:pt x="142184" y="97693"/>
                  </a:lnTo>
                  <a:lnTo>
                    <a:pt x="139833" y="108002"/>
                  </a:lnTo>
                  <a:lnTo>
                    <a:pt x="137849" y="115333"/>
                  </a:lnTo>
                  <a:lnTo>
                    <a:pt x="134436" y="116559"/>
                  </a:lnTo>
                  <a:lnTo>
                    <a:pt x="132319" y="117923"/>
                  </a:lnTo>
                  <a:lnTo>
                    <a:pt x="134318" y="124092"/>
                  </a:lnTo>
                  <a:lnTo>
                    <a:pt x="133462" y="125249"/>
                  </a:lnTo>
                  <a:lnTo>
                    <a:pt x="118755" y="132772"/>
                  </a:lnTo>
                  <a:lnTo>
                    <a:pt x="113569" y="139942"/>
                  </a:lnTo>
                  <a:lnTo>
                    <a:pt x="112693" y="149383"/>
                  </a:lnTo>
                  <a:lnTo>
                    <a:pt x="115259" y="158639"/>
                  </a:lnTo>
                  <a:lnTo>
                    <a:pt x="109048" y="170250"/>
                  </a:lnTo>
                  <a:lnTo>
                    <a:pt x="109046" y="176629"/>
                  </a:lnTo>
                  <a:lnTo>
                    <a:pt x="104213" y="182623"/>
                  </a:lnTo>
                  <a:lnTo>
                    <a:pt x="100538" y="180787"/>
                  </a:lnTo>
                  <a:lnTo>
                    <a:pt x="96023" y="173413"/>
                  </a:lnTo>
                  <a:lnTo>
                    <a:pt x="92733" y="171146"/>
                  </a:lnTo>
                  <a:lnTo>
                    <a:pt x="83441" y="169976"/>
                  </a:lnTo>
                  <a:lnTo>
                    <a:pt x="82065" y="174205"/>
                  </a:lnTo>
                  <a:lnTo>
                    <a:pt x="80611" y="174623"/>
                  </a:lnTo>
                  <a:lnTo>
                    <a:pt x="71870" y="172384"/>
                  </a:lnTo>
                  <a:lnTo>
                    <a:pt x="69140" y="173200"/>
                  </a:lnTo>
                  <a:lnTo>
                    <a:pt x="63609" y="185552"/>
                  </a:lnTo>
                  <a:lnTo>
                    <a:pt x="57613" y="190253"/>
                  </a:lnTo>
                  <a:lnTo>
                    <a:pt x="56536" y="198414"/>
                  </a:lnTo>
                  <a:lnTo>
                    <a:pt x="51217" y="207467"/>
                  </a:lnTo>
                  <a:lnTo>
                    <a:pt x="49397" y="221029"/>
                  </a:lnTo>
                  <a:lnTo>
                    <a:pt x="45529" y="224273"/>
                  </a:lnTo>
                  <a:lnTo>
                    <a:pt x="45184" y="232010"/>
                  </a:lnTo>
                  <a:lnTo>
                    <a:pt x="41790" y="235794"/>
                  </a:lnTo>
                  <a:lnTo>
                    <a:pt x="39003" y="236129"/>
                  </a:lnTo>
                  <a:lnTo>
                    <a:pt x="37913" y="223316"/>
                  </a:lnTo>
                  <a:lnTo>
                    <a:pt x="35049" y="223274"/>
                  </a:lnTo>
                  <a:lnTo>
                    <a:pt x="33217" y="228974"/>
                  </a:lnTo>
                  <a:lnTo>
                    <a:pt x="31205" y="229971"/>
                  </a:lnTo>
                  <a:lnTo>
                    <a:pt x="31329" y="227327"/>
                  </a:lnTo>
                  <a:lnTo>
                    <a:pt x="34067" y="219913"/>
                  </a:lnTo>
                  <a:lnTo>
                    <a:pt x="36442" y="213638"/>
                  </a:lnTo>
                  <a:lnTo>
                    <a:pt x="36905" y="205023"/>
                  </a:lnTo>
                  <a:lnTo>
                    <a:pt x="37006" y="198142"/>
                  </a:lnTo>
                  <a:lnTo>
                    <a:pt x="37140" y="188951"/>
                  </a:lnTo>
                  <a:lnTo>
                    <a:pt x="36895" y="182638"/>
                  </a:lnTo>
                  <a:lnTo>
                    <a:pt x="35020" y="177436"/>
                  </a:lnTo>
                  <a:lnTo>
                    <a:pt x="30531" y="171633"/>
                  </a:lnTo>
                  <a:lnTo>
                    <a:pt x="24080" y="165797"/>
                  </a:lnTo>
                  <a:lnTo>
                    <a:pt x="17956" y="160527"/>
                  </a:lnTo>
                  <a:lnTo>
                    <a:pt x="14759" y="156466"/>
                  </a:lnTo>
                  <a:lnTo>
                    <a:pt x="12243" y="150679"/>
                  </a:lnTo>
                  <a:lnTo>
                    <a:pt x="8762" y="144302"/>
                  </a:lnTo>
                  <a:lnTo>
                    <a:pt x="8478" y="141434"/>
                  </a:lnTo>
                  <a:lnTo>
                    <a:pt x="10483" y="138583"/>
                  </a:lnTo>
                  <a:lnTo>
                    <a:pt x="16009" y="139829"/>
                  </a:lnTo>
                  <a:lnTo>
                    <a:pt x="22198" y="139927"/>
                  </a:lnTo>
                  <a:lnTo>
                    <a:pt x="28675" y="142900"/>
                  </a:lnTo>
                  <a:lnTo>
                    <a:pt x="32915" y="142964"/>
                  </a:lnTo>
                  <a:lnTo>
                    <a:pt x="33947" y="139543"/>
                  </a:lnTo>
                  <a:lnTo>
                    <a:pt x="34041" y="133224"/>
                  </a:lnTo>
                  <a:lnTo>
                    <a:pt x="33129" y="128608"/>
                  </a:lnTo>
                  <a:lnTo>
                    <a:pt x="30915" y="124566"/>
                  </a:lnTo>
                  <a:lnTo>
                    <a:pt x="29366" y="119942"/>
                  </a:lnTo>
                  <a:lnTo>
                    <a:pt x="30398" y="115376"/>
                  </a:lnTo>
                  <a:lnTo>
                    <a:pt x="35337" y="111993"/>
                  </a:lnTo>
                  <a:lnTo>
                    <a:pt x="40633" y="105752"/>
                  </a:lnTo>
                  <a:lnTo>
                    <a:pt x="41688" y="100029"/>
                  </a:lnTo>
                  <a:lnTo>
                    <a:pt x="42115" y="92571"/>
                  </a:lnTo>
                  <a:lnTo>
                    <a:pt x="38700" y="82183"/>
                  </a:lnTo>
                  <a:lnTo>
                    <a:pt x="28376" y="77447"/>
                  </a:lnTo>
                  <a:lnTo>
                    <a:pt x="20034" y="70997"/>
                  </a:lnTo>
                  <a:lnTo>
                    <a:pt x="12299" y="67437"/>
                  </a:lnTo>
                  <a:lnTo>
                    <a:pt x="8947" y="63955"/>
                  </a:lnTo>
                  <a:lnTo>
                    <a:pt x="10250" y="62802"/>
                  </a:lnTo>
                  <a:lnTo>
                    <a:pt x="17774" y="57749"/>
                  </a:lnTo>
                  <a:lnTo>
                    <a:pt x="24679" y="52704"/>
                  </a:lnTo>
                  <a:lnTo>
                    <a:pt x="26703" y="46989"/>
                  </a:lnTo>
                  <a:lnTo>
                    <a:pt x="26756" y="43554"/>
                  </a:lnTo>
                  <a:lnTo>
                    <a:pt x="19701" y="39414"/>
                  </a:lnTo>
                  <a:lnTo>
                    <a:pt x="14515" y="39330"/>
                  </a:lnTo>
                  <a:lnTo>
                    <a:pt x="8038" y="39224"/>
                  </a:lnTo>
                  <a:lnTo>
                    <a:pt x="3192" y="38569"/>
                  </a:lnTo>
                  <a:lnTo>
                    <a:pt x="0" y="35641"/>
                  </a:lnTo>
                  <a:lnTo>
                    <a:pt x="1699" y="31080"/>
                  </a:lnTo>
                  <a:lnTo>
                    <a:pt x="7295" y="25426"/>
                  </a:lnTo>
                  <a:lnTo>
                    <a:pt x="14880" y="16940"/>
                  </a:lnTo>
                  <a:lnTo>
                    <a:pt x="20889" y="4981"/>
                  </a:lnTo>
                  <a:lnTo>
                    <a:pt x="23802" y="0"/>
                  </a:lnTo>
                  <a:lnTo>
                    <a:pt x="26246" y="3277"/>
                  </a:lnTo>
                  <a:lnTo>
                    <a:pt x="60230" y="19050"/>
                  </a:lnTo>
                  <a:lnTo>
                    <a:pt x="73723" y="26866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3">
              <a:extLst>
                <a:ext uri="{FF2B5EF4-FFF2-40B4-BE49-F238E27FC236}">
                  <a16:creationId xmlns:a16="http://schemas.microsoft.com/office/drawing/2014/main" id="{9E122845-6A18-65ED-507D-540767C50231}"/>
                </a:ext>
              </a:extLst>
            </p:cNvPr>
            <p:cNvSpPr>
              <a:spLocks noChangeAspect="1"/>
            </p:cNvSpPr>
            <p:nvPr>
              <p:custDataLst>
                <p:tags r:id="rId2"/>
              </p:custDataLst>
            </p:nvPr>
          </p:nvSpPr>
          <p:spPr>
            <a:xfrm>
              <a:off x="5926792" y="5127381"/>
              <a:ext cx="169895" cy="130456"/>
            </a:xfrm>
            <a:custGeom>
              <a:avLst/>
              <a:gdLst/>
              <a:ahLst/>
              <a:cxnLst/>
              <a:rect l="0" t="0" r="0" b="0"/>
              <a:pathLst>
                <a:path w="69454" h="53331">
                  <a:moveTo>
                    <a:pt x="49770" y="9360"/>
                  </a:moveTo>
                  <a:lnTo>
                    <a:pt x="51227" y="8841"/>
                  </a:lnTo>
                  <a:lnTo>
                    <a:pt x="51140" y="17412"/>
                  </a:lnTo>
                  <a:lnTo>
                    <a:pt x="52088" y="25340"/>
                  </a:lnTo>
                  <a:lnTo>
                    <a:pt x="54439" y="29016"/>
                  </a:lnTo>
                  <a:lnTo>
                    <a:pt x="56839" y="27825"/>
                  </a:lnTo>
                  <a:lnTo>
                    <a:pt x="61963" y="27272"/>
                  </a:lnTo>
                  <a:lnTo>
                    <a:pt x="67761" y="27324"/>
                  </a:lnTo>
                  <a:lnTo>
                    <a:pt x="69453" y="29156"/>
                  </a:lnTo>
                  <a:lnTo>
                    <a:pt x="69415" y="33420"/>
                  </a:lnTo>
                  <a:lnTo>
                    <a:pt x="68326" y="40125"/>
                  </a:lnTo>
                  <a:lnTo>
                    <a:pt x="65892" y="44981"/>
                  </a:lnTo>
                  <a:lnTo>
                    <a:pt x="62810" y="46157"/>
                  </a:lnTo>
                  <a:lnTo>
                    <a:pt x="56319" y="46095"/>
                  </a:lnTo>
                  <a:lnTo>
                    <a:pt x="45727" y="45387"/>
                  </a:lnTo>
                  <a:lnTo>
                    <a:pt x="40932" y="47163"/>
                  </a:lnTo>
                  <a:lnTo>
                    <a:pt x="41250" y="49003"/>
                  </a:lnTo>
                  <a:lnTo>
                    <a:pt x="43042" y="52261"/>
                  </a:lnTo>
                  <a:lnTo>
                    <a:pt x="40277" y="52962"/>
                  </a:lnTo>
                  <a:lnTo>
                    <a:pt x="36895" y="53330"/>
                  </a:lnTo>
                  <a:lnTo>
                    <a:pt x="31933" y="52870"/>
                  </a:lnTo>
                  <a:lnTo>
                    <a:pt x="27005" y="50008"/>
                  </a:lnTo>
                  <a:lnTo>
                    <a:pt x="23233" y="45126"/>
                  </a:lnTo>
                  <a:lnTo>
                    <a:pt x="20102" y="42680"/>
                  </a:lnTo>
                  <a:lnTo>
                    <a:pt x="18515" y="43470"/>
                  </a:lnTo>
                  <a:lnTo>
                    <a:pt x="17120" y="46671"/>
                  </a:lnTo>
                  <a:lnTo>
                    <a:pt x="14606" y="49445"/>
                  </a:lnTo>
                  <a:lnTo>
                    <a:pt x="12342" y="49830"/>
                  </a:lnTo>
                  <a:lnTo>
                    <a:pt x="10095" y="49802"/>
                  </a:lnTo>
                  <a:lnTo>
                    <a:pt x="6728" y="48554"/>
                  </a:lnTo>
                  <a:lnTo>
                    <a:pt x="2914" y="47280"/>
                  </a:lnTo>
                  <a:lnTo>
                    <a:pt x="2447" y="46602"/>
                  </a:lnTo>
                  <a:lnTo>
                    <a:pt x="699" y="44031"/>
                  </a:lnTo>
                  <a:lnTo>
                    <a:pt x="139" y="35582"/>
                  </a:lnTo>
                  <a:lnTo>
                    <a:pt x="0" y="19673"/>
                  </a:lnTo>
                  <a:lnTo>
                    <a:pt x="1015" y="19410"/>
                  </a:lnTo>
                  <a:lnTo>
                    <a:pt x="13401" y="26898"/>
                  </a:lnTo>
                  <a:lnTo>
                    <a:pt x="19229" y="26338"/>
                  </a:lnTo>
                  <a:lnTo>
                    <a:pt x="21239" y="22847"/>
                  </a:lnTo>
                  <a:lnTo>
                    <a:pt x="20790" y="15200"/>
                  </a:lnTo>
                  <a:lnTo>
                    <a:pt x="16713" y="4220"/>
                  </a:lnTo>
                  <a:lnTo>
                    <a:pt x="18949" y="959"/>
                  </a:lnTo>
                  <a:lnTo>
                    <a:pt x="25262" y="3266"/>
                  </a:lnTo>
                  <a:lnTo>
                    <a:pt x="35776" y="3268"/>
                  </a:lnTo>
                  <a:lnTo>
                    <a:pt x="40836" y="6838"/>
                  </a:lnTo>
                  <a:lnTo>
                    <a:pt x="42808" y="5161"/>
                  </a:lnTo>
                  <a:lnTo>
                    <a:pt x="44337" y="1030"/>
                  </a:lnTo>
                  <a:lnTo>
                    <a:pt x="47791" y="0"/>
                  </a:lnTo>
                  <a:lnTo>
                    <a:pt x="48522" y="2871"/>
                  </a:lnTo>
                  <a:lnTo>
                    <a:pt x="48004" y="7644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4">
              <a:extLst>
                <a:ext uri="{FF2B5EF4-FFF2-40B4-BE49-F238E27FC236}">
                  <a16:creationId xmlns:a16="http://schemas.microsoft.com/office/drawing/2014/main" id="{BE037A71-6E71-1681-69A0-0852A58845DE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5843518" y="5321806"/>
              <a:ext cx="156830" cy="125536"/>
            </a:xfrm>
            <a:custGeom>
              <a:avLst/>
              <a:gdLst/>
              <a:ahLst/>
              <a:cxnLst/>
              <a:rect l="0" t="0" r="0" b="0"/>
              <a:pathLst>
                <a:path w="64113" h="51320">
                  <a:moveTo>
                    <a:pt x="38881" y="10064"/>
                  </a:moveTo>
                  <a:lnTo>
                    <a:pt x="42722" y="10113"/>
                  </a:lnTo>
                  <a:lnTo>
                    <a:pt x="48610" y="9378"/>
                  </a:lnTo>
                  <a:lnTo>
                    <a:pt x="53162" y="7025"/>
                  </a:lnTo>
                  <a:lnTo>
                    <a:pt x="56335" y="6254"/>
                  </a:lnTo>
                  <a:lnTo>
                    <a:pt x="59830" y="10145"/>
                  </a:lnTo>
                  <a:lnTo>
                    <a:pt x="59868" y="13542"/>
                  </a:lnTo>
                  <a:lnTo>
                    <a:pt x="58911" y="17955"/>
                  </a:lnTo>
                  <a:lnTo>
                    <a:pt x="57072" y="20757"/>
                  </a:lnTo>
                  <a:lnTo>
                    <a:pt x="55920" y="22342"/>
                  </a:lnTo>
                  <a:lnTo>
                    <a:pt x="57222" y="26782"/>
                  </a:lnTo>
                  <a:lnTo>
                    <a:pt x="60808" y="30043"/>
                  </a:lnTo>
                  <a:lnTo>
                    <a:pt x="62814" y="32476"/>
                  </a:lnTo>
                  <a:lnTo>
                    <a:pt x="64112" y="38118"/>
                  </a:lnTo>
                  <a:lnTo>
                    <a:pt x="63588" y="44559"/>
                  </a:lnTo>
                  <a:lnTo>
                    <a:pt x="62619" y="49378"/>
                  </a:lnTo>
                  <a:lnTo>
                    <a:pt x="59662" y="50548"/>
                  </a:lnTo>
                  <a:lnTo>
                    <a:pt x="57060" y="51169"/>
                  </a:lnTo>
                  <a:lnTo>
                    <a:pt x="56474" y="51319"/>
                  </a:lnTo>
                  <a:lnTo>
                    <a:pt x="49921" y="49227"/>
                  </a:lnTo>
                  <a:lnTo>
                    <a:pt x="36428" y="41411"/>
                  </a:lnTo>
                  <a:lnTo>
                    <a:pt x="2444" y="25638"/>
                  </a:lnTo>
                  <a:lnTo>
                    <a:pt x="0" y="22361"/>
                  </a:lnTo>
                  <a:lnTo>
                    <a:pt x="29" y="22303"/>
                  </a:lnTo>
                  <a:lnTo>
                    <a:pt x="360" y="21014"/>
                  </a:lnTo>
                  <a:lnTo>
                    <a:pt x="733" y="19569"/>
                  </a:lnTo>
                  <a:lnTo>
                    <a:pt x="6448" y="16043"/>
                  </a:lnTo>
                  <a:lnTo>
                    <a:pt x="16684" y="12166"/>
                  </a:lnTo>
                  <a:lnTo>
                    <a:pt x="29013" y="3494"/>
                  </a:lnTo>
                  <a:lnTo>
                    <a:pt x="34942" y="0"/>
                  </a:lnTo>
                  <a:lnTo>
                    <a:pt x="34866" y="5588"/>
                  </a:lnTo>
                  <a:lnTo>
                    <a:pt x="36849" y="9642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0C0B34E3-ACD0-6C95-83E7-C20DF036D76D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5928805" y="5231783"/>
              <a:ext cx="151231" cy="123379"/>
            </a:xfrm>
            <a:custGeom>
              <a:avLst/>
              <a:gdLst/>
              <a:ahLst/>
              <a:cxnLst/>
              <a:rect l="0" t="0" r="0" b="0"/>
              <a:pathLst>
                <a:path w="61824" h="50438">
                  <a:moveTo>
                    <a:pt x="36072" y="10650"/>
                  </a:moveTo>
                  <a:lnTo>
                    <a:pt x="39454" y="10282"/>
                  </a:lnTo>
                  <a:lnTo>
                    <a:pt x="42219" y="9581"/>
                  </a:lnTo>
                  <a:lnTo>
                    <a:pt x="42778" y="10603"/>
                  </a:lnTo>
                  <a:lnTo>
                    <a:pt x="47849" y="16136"/>
                  </a:lnTo>
                  <a:lnTo>
                    <a:pt x="51248" y="18618"/>
                  </a:lnTo>
                  <a:lnTo>
                    <a:pt x="56034" y="18665"/>
                  </a:lnTo>
                  <a:lnTo>
                    <a:pt x="59790" y="18701"/>
                  </a:lnTo>
                  <a:lnTo>
                    <a:pt x="61823" y="21149"/>
                  </a:lnTo>
                  <a:lnTo>
                    <a:pt x="61800" y="23597"/>
                  </a:lnTo>
                  <a:lnTo>
                    <a:pt x="58667" y="29057"/>
                  </a:lnTo>
                  <a:lnTo>
                    <a:pt x="58616" y="34368"/>
                  </a:lnTo>
                  <a:lnTo>
                    <a:pt x="53879" y="34975"/>
                  </a:lnTo>
                  <a:lnTo>
                    <a:pt x="44184" y="32864"/>
                  </a:lnTo>
                  <a:lnTo>
                    <a:pt x="38756" y="32806"/>
                  </a:lnTo>
                  <a:lnTo>
                    <a:pt x="35361" y="34368"/>
                  </a:lnTo>
                  <a:lnTo>
                    <a:pt x="34419" y="36776"/>
                  </a:lnTo>
                  <a:lnTo>
                    <a:pt x="36170" y="42019"/>
                  </a:lnTo>
                  <a:lnTo>
                    <a:pt x="35905" y="46440"/>
                  </a:lnTo>
                  <a:lnTo>
                    <a:pt x="33146" y="50437"/>
                  </a:lnTo>
                  <a:lnTo>
                    <a:pt x="27944" y="50378"/>
                  </a:lnTo>
                  <a:lnTo>
                    <a:pt x="25490" y="47547"/>
                  </a:lnTo>
                  <a:lnTo>
                    <a:pt x="24964" y="46947"/>
                  </a:lnTo>
                  <a:lnTo>
                    <a:pt x="21469" y="43056"/>
                  </a:lnTo>
                  <a:lnTo>
                    <a:pt x="18296" y="43827"/>
                  </a:lnTo>
                  <a:lnTo>
                    <a:pt x="13744" y="46180"/>
                  </a:lnTo>
                  <a:lnTo>
                    <a:pt x="7856" y="46915"/>
                  </a:lnTo>
                  <a:lnTo>
                    <a:pt x="4015" y="46866"/>
                  </a:lnTo>
                  <a:lnTo>
                    <a:pt x="1983" y="46444"/>
                  </a:lnTo>
                  <a:lnTo>
                    <a:pt x="0" y="42390"/>
                  </a:lnTo>
                  <a:lnTo>
                    <a:pt x="76" y="36802"/>
                  </a:lnTo>
                  <a:lnTo>
                    <a:pt x="81" y="36357"/>
                  </a:lnTo>
                  <a:lnTo>
                    <a:pt x="141" y="31935"/>
                  </a:lnTo>
                  <a:lnTo>
                    <a:pt x="471" y="24287"/>
                  </a:lnTo>
                  <a:lnTo>
                    <a:pt x="533" y="19647"/>
                  </a:lnTo>
                  <a:lnTo>
                    <a:pt x="557" y="17860"/>
                  </a:lnTo>
                  <a:lnTo>
                    <a:pt x="660" y="10220"/>
                  </a:lnTo>
                  <a:lnTo>
                    <a:pt x="1624" y="3922"/>
                  </a:lnTo>
                  <a:lnTo>
                    <a:pt x="2091" y="4600"/>
                  </a:lnTo>
                  <a:lnTo>
                    <a:pt x="5905" y="5874"/>
                  </a:lnTo>
                  <a:lnTo>
                    <a:pt x="9272" y="7122"/>
                  </a:lnTo>
                  <a:lnTo>
                    <a:pt x="11519" y="7150"/>
                  </a:lnTo>
                  <a:lnTo>
                    <a:pt x="13783" y="6765"/>
                  </a:lnTo>
                  <a:lnTo>
                    <a:pt x="16297" y="3991"/>
                  </a:lnTo>
                  <a:lnTo>
                    <a:pt x="17692" y="790"/>
                  </a:lnTo>
                  <a:lnTo>
                    <a:pt x="19279" y="0"/>
                  </a:lnTo>
                  <a:lnTo>
                    <a:pt x="22410" y="2446"/>
                  </a:lnTo>
                  <a:lnTo>
                    <a:pt x="26182" y="7328"/>
                  </a:lnTo>
                  <a:lnTo>
                    <a:pt x="31110" y="10190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22DEF435-44B9-726A-E559-399127360B15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5649115" y="5188263"/>
              <a:ext cx="161179" cy="109808"/>
            </a:xfrm>
            <a:custGeom>
              <a:avLst/>
              <a:gdLst/>
              <a:ahLst/>
              <a:cxnLst/>
              <a:rect l="0" t="0" r="0" b="0"/>
              <a:pathLst>
                <a:path w="65891" h="44890">
                  <a:moveTo>
                    <a:pt x="57192" y="11441"/>
                  </a:moveTo>
                  <a:lnTo>
                    <a:pt x="57199" y="11465"/>
                  </a:lnTo>
                  <a:lnTo>
                    <a:pt x="58777" y="17506"/>
                  </a:lnTo>
                  <a:lnTo>
                    <a:pt x="61606" y="23578"/>
                  </a:lnTo>
                  <a:lnTo>
                    <a:pt x="64653" y="30067"/>
                  </a:lnTo>
                  <a:lnTo>
                    <a:pt x="65890" y="36921"/>
                  </a:lnTo>
                  <a:lnTo>
                    <a:pt x="64911" y="41743"/>
                  </a:lnTo>
                  <a:lnTo>
                    <a:pt x="60568" y="44889"/>
                  </a:lnTo>
                  <a:lnTo>
                    <a:pt x="56278" y="44816"/>
                  </a:lnTo>
                  <a:lnTo>
                    <a:pt x="51078" y="44725"/>
                  </a:lnTo>
                  <a:lnTo>
                    <a:pt x="45905" y="43824"/>
                  </a:lnTo>
                  <a:lnTo>
                    <a:pt x="39816" y="43318"/>
                  </a:lnTo>
                  <a:lnTo>
                    <a:pt x="35094" y="42025"/>
                  </a:lnTo>
                  <a:lnTo>
                    <a:pt x="30404" y="39113"/>
                  </a:lnTo>
                  <a:lnTo>
                    <a:pt x="29936" y="38661"/>
                  </a:lnTo>
                  <a:lnTo>
                    <a:pt x="24860" y="33773"/>
                  </a:lnTo>
                  <a:lnTo>
                    <a:pt x="19911" y="33282"/>
                  </a:lnTo>
                  <a:lnTo>
                    <a:pt x="8624" y="33056"/>
                  </a:lnTo>
                  <a:lnTo>
                    <a:pt x="1083" y="34874"/>
                  </a:lnTo>
                  <a:lnTo>
                    <a:pt x="604" y="34992"/>
                  </a:lnTo>
                  <a:lnTo>
                    <a:pt x="598" y="34995"/>
                  </a:lnTo>
                  <a:lnTo>
                    <a:pt x="597" y="34990"/>
                  </a:lnTo>
                  <a:lnTo>
                    <a:pt x="0" y="24434"/>
                  </a:lnTo>
                  <a:lnTo>
                    <a:pt x="1541" y="14234"/>
                  </a:lnTo>
                  <a:lnTo>
                    <a:pt x="4747" y="7597"/>
                  </a:lnTo>
                  <a:lnTo>
                    <a:pt x="9709" y="3486"/>
                  </a:lnTo>
                  <a:lnTo>
                    <a:pt x="16451" y="790"/>
                  </a:lnTo>
                  <a:lnTo>
                    <a:pt x="20472" y="0"/>
                  </a:lnTo>
                  <a:lnTo>
                    <a:pt x="23371" y="414"/>
                  </a:lnTo>
                  <a:lnTo>
                    <a:pt x="36827" y="7125"/>
                  </a:lnTo>
                  <a:lnTo>
                    <a:pt x="40429" y="7814"/>
                  </a:lnTo>
                  <a:lnTo>
                    <a:pt x="42904" y="6754"/>
                  </a:lnTo>
                  <a:lnTo>
                    <a:pt x="47441" y="9728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744BF4F-4279-25E1-7ECD-52FF995F7838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5630798" y="5269123"/>
              <a:ext cx="219948" cy="290603"/>
            </a:xfrm>
            <a:custGeom>
              <a:avLst/>
              <a:gdLst/>
              <a:ahLst/>
              <a:cxnLst/>
              <a:rect l="0" t="0" r="0" b="0"/>
              <a:pathLst>
                <a:path w="89916" h="118800">
                  <a:moveTo>
                    <a:pt x="37424" y="5605"/>
                  </a:moveTo>
                  <a:lnTo>
                    <a:pt x="40207" y="14949"/>
                  </a:lnTo>
                  <a:lnTo>
                    <a:pt x="44803" y="23082"/>
                  </a:lnTo>
                  <a:lnTo>
                    <a:pt x="54775" y="34532"/>
                  </a:lnTo>
                  <a:lnTo>
                    <a:pt x="61897" y="40681"/>
                  </a:lnTo>
                  <a:lnTo>
                    <a:pt x="73873" y="42098"/>
                  </a:lnTo>
                  <a:lnTo>
                    <a:pt x="81583" y="41818"/>
                  </a:lnTo>
                  <a:lnTo>
                    <a:pt x="87321" y="42551"/>
                  </a:lnTo>
                  <a:lnTo>
                    <a:pt x="86990" y="43840"/>
                  </a:lnTo>
                  <a:lnTo>
                    <a:pt x="86961" y="43898"/>
                  </a:lnTo>
                  <a:lnTo>
                    <a:pt x="84048" y="48879"/>
                  </a:lnTo>
                  <a:lnTo>
                    <a:pt x="78039" y="60838"/>
                  </a:lnTo>
                  <a:lnTo>
                    <a:pt x="70454" y="69324"/>
                  </a:lnTo>
                  <a:lnTo>
                    <a:pt x="64858" y="74978"/>
                  </a:lnTo>
                  <a:lnTo>
                    <a:pt x="63159" y="79539"/>
                  </a:lnTo>
                  <a:lnTo>
                    <a:pt x="66351" y="82467"/>
                  </a:lnTo>
                  <a:lnTo>
                    <a:pt x="71197" y="83122"/>
                  </a:lnTo>
                  <a:lnTo>
                    <a:pt x="77674" y="83228"/>
                  </a:lnTo>
                  <a:lnTo>
                    <a:pt x="82860" y="83312"/>
                  </a:lnTo>
                  <a:lnTo>
                    <a:pt x="89915" y="87452"/>
                  </a:lnTo>
                  <a:lnTo>
                    <a:pt x="89862" y="90887"/>
                  </a:lnTo>
                  <a:lnTo>
                    <a:pt x="87838" y="96602"/>
                  </a:lnTo>
                  <a:lnTo>
                    <a:pt x="80933" y="101647"/>
                  </a:lnTo>
                  <a:lnTo>
                    <a:pt x="73409" y="106700"/>
                  </a:lnTo>
                  <a:lnTo>
                    <a:pt x="72106" y="107853"/>
                  </a:lnTo>
                  <a:lnTo>
                    <a:pt x="65822" y="113464"/>
                  </a:lnTo>
                  <a:lnTo>
                    <a:pt x="57293" y="118483"/>
                  </a:lnTo>
                  <a:lnTo>
                    <a:pt x="55607" y="118799"/>
                  </a:lnTo>
                  <a:lnTo>
                    <a:pt x="53732" y="118662"/>
                  </a:lnTo>
                  <a:lnTo>
                    <a:pt x="53687" y="118241"/>
                  </a:lnTo>
                  <a:lnTo>
                    <a:pt x="52830" y="110155"/>
                  </a:lnTo>
                  <a:lnTo>
                    <a:pt x="48309" y="102128"/>
                  </a:lnTo>
                  <a:lnTo>
                    <a:pt x="42095" y="96663"/>
                  </a:lnTo>
                  <a:lnTo>
                    <a:pt x="30433" y="91216"/>
                  </a:lnTo>
                  <a:lnTo>
                    <a:pt x="23489" y="90800"/>
                  </a:lnTo>
                  <a:lnTo>
                    <a:pt x="21498" y="89393"/>
                  </a:lnTo>
                  <a:lnTo>
                    <a:pt x="23183" y="85849"/>
                  </a:lnTo>
                  <a:lnTo>
                    <a:pt x="23240" y="83004"/>
                  </a:lnTo>
                  <a:lnTo>
                    <a:pt x="10923" y="74496"/>
                  </a:lnTo>
                  <a:lnTo>
                    <a:pt x="4072" y="67961"/>
                  </a:lnTo>
                  <a:lnTo>
                    <a:pt x="0" y="61669"/>
                  </a:lnTo>
                  <a:lnTo>
                    <a:pt x="9725" y="51673"/>
                  </a:lnTo>
                  <a:lnTo>
                    <a:pt x="13176" y="43533"/>
                  </a:lnTo>
                  <a:lnTo>
                    <a:pt x="12534" y="30627"/>
                  </a:lnTo>
                  <a:lnTo>
                    <a:pt x="11248" y="26028"/>
                  </a:lnTo>
                  <a:lnTo>
                    <a:pt x="10015" y="22722"/>
                  </a:lnTo>
                  <a:lnTo>
                    <a:pt x="9041" y="18750"/>
                  </a:lnTo>
                  <a:lnTo>
                    <a:pt x="8114" y="2231"/>
                  </a:lnTo>
                  <a:lnTo>
                    <a:pt x="8086" y="1939"/>
                  </a:lnTo>
                  <a:lnTo>
                    <a:pt x="8092" y="1936"/>
                  </a:lnTo>
                  <a:lnTo>
                    <a:pt x="8571" y="1818"/>
                  </a:lnTo>
                  <a:lnTo>
                    <a:pt x="16112" y="0"/>
                  </a:lnTo>
                  <a:lnTo>
                    <a:pt x="27399" y="226"/>
                  </a:lnTo>
                  <a:lnTo>
                    <a:pt x="32348" y="717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1EFBD908-389D-AAA2-4E29-9437C6CF5A70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6026918" y="5130299"/>
              <a:ext cx="243844" cy="274749"/>
            </a:xfrm>
            <a:custGeom>
              <a:avLst/>
              <a:gdLst/>
              <a:ahLst/>
              <a:cxnLst/>
              <a:rect l="0" t="0" r="0" b="0"/>
              <a:pathLst>
                <a:path w="99685" h="112319">
                  <a:moveTo>
                    <a:pt x="34771" y="5328"/>
                  </a:moveTo>
                  <a:lnTo>
                    <a:pt x="35546" y="8315"/>
                  </a:lnTo>
                  <a:lnTo>
                    <a:pt x="42966" y="7626"/>
                  </a:lnTo>
                  <a:lnTo>
                    <a:pt x="43963" y="10082"/>
                  </a:lnTo>
                  <a:lnTo>
                    <a:pt x="42493" y="15698"/>
                  </a:lnTo>
                  <a:lnTo>
                    <a:pt x="50505" y="16075"/>
                  </a:lnTo>
                  <a:lnTo>
                    <a:pt x="50937" y="22021"/>
                  </a:lnTo>
                  <a:lnTo>
                    <a:pt x="53580" y="26386"/>
                  </a:lnTo>
                  <a:lnTo>
                    <a:pt x="65874" y="27002"/>
                  </a:lnTo>
                  <a:lnTo>
                    <a:pt x="66464" y="28180"/>
                  </a:lnTo>
                  <a:lnTo>
                    <a:pt x="65621" y="29448"/>
                  </a:lnTo>
                  <a:lnTo>
                    <a:pt x="59636" y="35669"/>
                  </a:lnTo>
                  <a:lnTo>
                    <a:pt x="67622" y="41980"/>
                  </a:lnTo>
                  <a:lnTo>
                    <a:pt x="76463" y="46060"/>
                  </a:lnTo>
                  <a:lnTo>
                    <a:pt x="77757" y="50323"/>
                  </a:lnTo>
                  <a:lnTo>
                    <a:pt x="75230" y="52648"/>
                  </a:lnTo>
                  <a:lnTo>
                    <a:pt x="81036" y="59256"/>
                  </a:lnTo>
                  <a:lnTo>
                    <a:pt x="94993" y="54969"/>
                  </a:lnTo>
                  <a:lnTo>
                    <a:pt x="99684" y="57427"/>
                  </a:lnTo>
                  <a:lnTo>
                    <a:pt x="98832" y="59972"/>
                  </a:lnTo>
                  <a:lnTo>
                    <a:pt x="93772" y="61648"/>
                  </a:lnTo>
                  <a:lnTo>
                    <a:pt x="91371" y="64618"/>
                  </a:lnTo>
                  <a:lnTo>
                    <a:pt x="97010" y="82049"/>
                  </a:lnTo>
                  <a:lnTo>
                    <a:pt x="96469" y="85335"/>
                  </a:lnTo>
                  <a:lnTo>
                    <a:pt x="93219" y="91048"/>
                  </a:lnTo>
                  <a:lnTo>
                    <a:pt x="93738" y="93084"/>
                  </a:lnTo>
                  <a:lnTo>
                    <a:pt x="83421" y="100874"/>
                  </a:lnTo>
                  <a:lnTo>
                    <a:pt x="69317" y="108101"/>
                  </a:lnTo>
                  <a:lnTo>
                    <a:pt x="61742" y="112318"/>
                  </a:lnTo>
                  <a:lnTo>
                    <a:pt x="58316" y="111683"/>
                  </a:lnTo>
                  <a:lnTo>
                    <a:pt x="52514" y="106766"/>
                  </a:lnTo>
                  <a:lnTo>
                    <a:pt x="40260" y="95714"/>
                  </a:lnTo>
                  <a:lnTo>
                    <a:pt x="22564" y="81542"/>
                  </a:lnTo>
                  <a:lnTo>
                    <a:pt x="18500" y="76627"/>
                  </a:lnTo>
                  <a:lnTo>
                    <a:pt x="18507" y="75855"/>
                  </a:lnTo>
                  <a:lnTo>
                    <a:pt x="18558" y="70544"/>
                  </a:lnTo>
                  <a:lnTo>
                    <a:pt x="21691" y="65084"/>
                  </a:lnTo>
                  <a:lnTo>
                    <a:pt x="21714" y="62636"/>
                  </a:lnTo>
                  <a:lnTo>
                    <a:pt x="19681" y="60188"/>
                  </a:lnTo>
                  <a:lnTo>
                    <a:pt x="15925" y="60152"/>
                  </a:lnTo>
                  <a:lnTo>
                    <a:pt x="11139" y="60105"/>
                  </a:lnTo>
                  <a:lnTo>
                    <a:pt x="7740" y="57623"/>
                  </a:lnTo>
                  <a:lnTo>
                    <a:pt x="2669" y="52090"/>
                  </a:lnTo>
                  <a:lnTo>
                    <a:pt x="2110" y="51068"/>
                  </a:lnTo>
                  <a:lnTo>
                    <a:pt x="318" y="47810"/>
                  </a:lnTo>
                  <a:lnTo>
                    <a:pt x="0" y="45970"/>
                  </a:lnTo>
                  <a:lnTo>
                    <a:pt x="4795" y="44194"/>
                  </a:lnTo>
                  <a:lnTo>
                    <a:pt x="15387" y="44902"/>
                  </a:lnTo>
                  <a:lnTo>
                    <a:pt x="21878" y="44964"/>
                  </a:lnTo>
                  <a:lnTo>
                    <a:pt x="24960" y="43788"/>
                  </a:lnTo>
                  <a:lnTo>
                    <a:pt x="27394" y="38932"/>
                  </a:lnTo>
                  <a:lnTo>
                    <a:pt x="28483" y="32227"/>
                  </a:lnTo>
                  <a:lnTo>
                    <a:pt x="28521" y="27963"/>
                  </a:lnTo>
                  <a:lnTo>
                    <a:pt x="26829" y="26131"/>
                  </a:lnTo>
                  <a:lnTo>
                    <a:pt x="21031" y="26079"/>
                  </a:lnTo>
                  <a:lnTo>
                    <a:pt x="15907" y="26632"/>
                  </a:lnTo>
                  <a:lnTo>
                    <a:pt x="13507" y="27823"/>
                  </a:lnTo>
                  <a:lnTo>
                    <a:pt x="11156" y="24147"/>
                  </a:lnTo>
                  <a:lnTo>
                    <a:pt x="10208" y="16219"/>
                  </a:lnTo>
                  <a:lnTo>
                    <a:pt x="10295" y="7648"/>
                  </a:lnTo>
                  <a:lnTo>
                    <a:pt x="13724" y="6419"/>
                  </a:lnTo>
                  <a:lnTo>
                    <a:pt x="19720" y="0"/>
                  </a:lnTo>
                  <a:lnTo>
                    <a:pt x="33425" y="123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6BAC1701-CBBE-4A33-6996-2CF0FA7CDCA7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5722343" y="5216250"/>
              <a:ext cx="207769" cy="156962"/>
            </a:xfrm>
            <a:custGeom>
              <a:avLst/>
              <a:gdLst/>
              <a:ahLst/>
              <a:cxnLst/>
              <a:rect l="0" t="0" r="0" b="0"/>
              <a:pathLst>
                <a:path w="84937" h="64167">
                  <a:moveTo>
                    <a:pt x="56813" y="2044"/>
                  </a:moveTo>
                  <a:lnTo>
                    <a:pt x="58266" y="3834"/>
                  </a:lnTo>
                  <a:lnTo>
                    <a:pt x="61982" y="6182"/>
                  </a:lnTo>
                  <a:lnTo>
                    <a:pt x="67108" y="10285"/>
                  </a:lnTo>
                  <a:lnTo>
                    <a:pt x="76237" y="18454"/>
                  </a:lnTo>
                  <a:lnTo>
                    <a:pt x="84936" y="25997"/>
                  </a:lnTo>
                  <a:lnTo>
                    <a:pt x="84874" y="30637"/>
                  </a:lnTo>
                  <a:lnTo>
                    <a:pt x="84544" y="38285"/>
                  </a:lnTo>
                  <a:lnTo>
                    <a:pt x="84484" y="42707"/>
                  </a:lnTo>
                  <a:lnTo>
                    <a:pt x="84479" y="43152"/>
                  </a:lnTo>
                  <a:lnTo>
                    <a:pt x="78550" y="46646"/>
                  </a:lnTo>
                  <a:lnTo>
                    <a:pt x="66221" y="55318"/>
                  </a:lnTo>
                  <a:lnTo>
                    <a:pt x="55985" y="59195"/>
                  </a:lnTo>
                  <a:lnTo>
                    <a:pt x="50270" y="62721"/>
                  </a:lnTo>
                  <a:lnTo>
                    <a:pt x="49897" y="64166"/>
                  </a:lnTo>
                  <a:lnTo>
                    <a:pt x="44159" y="63433"/>
                  </a:lnTo>
                  <a:lnTo>
                    <a:pt x="36449" y="63713"/>
                  </a:lnTo>
                  <a:lnTo>
                    <a:pt x="24473" y="62296"/>
                  </a:lnTo>
                  <a:lnTo>
                    <a:pt x="17351" y="56147"/>
                  </a:lnTo>
                  <a:lnTo>
                    <a:pt x="7379" y="44697"/>
                  </a:lnTo>
                  <a:lnTo>
                    <a:pt x="2783" y="36564"/>
                  </a:lnTo>
                  <a:lnTo>
                    <a:pt x="0" y="27220"/>
                  </a:lnTo>
                  <a:lnTo>
                    <a:pt x="468" y="27672"/>
                  </a:lnTo>
                  <a:lnTo>
                    <a:pt x="5158" y="30584"/>
                  </a:lnTo>
                  <a:lnTo>
                    <a:pt x="9880" y="31877"/>
                  </a:lnTo>
                  <a:lnTo>
                    <a:pt x="15969" y="32383"/>
                  </a:lnTo>
                  <a:lnTo>
                    <a:pt x="21142" y="33284"/>
                  </a:lnTo>
                  <a:lnTo>
                    <a:pt x="26342" y="33375"/>
                  </a:lnTo>
                  <a:lnTo>
                    <a:pt x="30632" y="33448"/>
                  </a:lnTo>
                  <a:lnTo>
                    <a:pt x="34975" y="30302"/>
                  </a:lnTo>
                  <a:lnTo>
                    <a:pt x="35954" y="25480"/>
                  </a:lnTo>
                  <a:lnTo>
                    <a:pt x="34717" y="18626"/>
                  </a:lnTo>
                  <a:lnTo>
                    <a:pt x="31670" y="12137"/>
                  </a:lnTo>
                  <a:lnTo>
                    <a:pt x="28841" y="6065"/>
                  </a:lnTo>
                  <a:lnTo>
                    <a:pt x="27263" y="24"/>
                  </a:lnTo>
                  <a:lnTo>
                    <a:pt x="27256" y="0"/>
                  </a:lnTo>
                  <a:lnTo>
                    <a:pt x="53060" y="4495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B0D7DDF3-1CB9-6E45-664F-282BE4752870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5547624" y="5532948"/>
              <a:ext cx="340692" cy="553747"/>
            </a:xfrm>
            <a:custGeom>
              <a:avLst/>
              <a:gdLst/>
              <a:ahLst/>
              <a:cxnLst/>
              <a:rect l="0" t="0" r="0" b="0"/>
              <a:pathLst>
                <a:path w="139277" h="226375">
                  <a:moveTo>
                    <a:pt x="125836" y="78945"/>
                  </a:moveTo>
                  <a:lnTo>
                    <a:pt x="119359" y="75972"/>
                  </a:lnTo>
                  <a:lnTo>
                    <a:pt x="113170" y="75874"/>
                  </a:lnTo>
                  <a:lnTo>
                    <a:pt x="107644" y="74628"/>
                  </a:lnTo>
                  <a:lnTo>
                    <a:pt x="105639" y="77479"/>
                  </a:lnTo>
                  <a:lnTo>
                    <a:pt x="105923" y="80347"/>
                  </a:lnTo>
                  <a:lnTo>
                    <a:pt x="109404" y="86724"/>
                  </a:lnTo>
                  <a:lnTo>
                    <a:pt x="111920" y="92511"/>
                  </a:lnTo>
                  <a:lnTo>
                    <a:pt x="115117" y="96572"/>
                  </a:lnTo>
                  <a:lnTo>
                    <a:pt x="121241" y="101842"/>
                  </a:lnTo>
                  <a:lnTo>
                    <a:pt x="127692" y="107678"/>
                  </a:lnTo>
                  <a:lnTo>
                    <a:pt x="132181" y="113481"/>
                  </a:lnTo>
                  <a:lnTo>
                    <a:pt x="134056" y="118683"/>
                  </a:lnTo>
                  <a:lnTo>
                    <a:pt x="134301" y="124996"/>
                  </a:lnTo>
                  <a:lnTo>
                    <a:pt x="134167" y="134187"/>
                  </a:lnTo>
                  <a:lnTo>
                    <a:pt x="134066" y="141068"/>
                  </a:lnTo>
                  <a:lnTo>
                    <a:pt x="133603" y="149683"/>
                  </a:lnTo>
                  <a:lnTo>
                    <a:pt x="131228" y="155958"/>
                  </a:lnTo>
                  <a:lnTo>
                    <a:pt x="128490" y="163372"/>
                  </a:lnTo>
                  <a:lnTo>
                    <a:pt x="128366" y="166016"/>
                  </a:lnTo>
                  <a:lnTo>
                    <a:pt x="123654" y="168315"/>
                  </a:lnTo>
                  <a:lnTo>
                    <a:pt x="112860" y="164435"/>
                  </a:lnTo>
                  <a:lnTo>
                    <a:pt x="110117" y="165239"/>
                  </a:lnTo>
                  <a:lnTo>
                    <a:pt x="96899" y="172249"/>
                  </a:lnTo>
                  <a:lnTo>
                    <a:pt x="88818" y="179950"/>
                  </a:lnTo>
                  <a:lnTo>
                    <a:pt x="87823" y="184505"/>
                  </a:lnTo>
                  <a:lnTo>
                    <a:pt x="89196" y="192913"/>
                  </a:lnTo>
                  <a:lnTo>
                    <a:pt x="94601" y="196404"/>
                  </a:lnTo>
                  <a:lnTo>
                    <a:pt x="95221" y="199178"/>
                  </a:lnTo>
                  <a:lnTo>
                    <a:pt x="94439" y="202563"/>
                  </a:lnTo>
                  <a:lnTo>
                    <a:pt x="92087" y="205169"/>
                  </a:lnTo>
                  <a:lnTo>
                    <a:pt x="76499" y="209464"/>
                  </a:lnTo>
                  <a:lnTo>
                    <a:pt x="62813" y="209415"/>
                  </a:lnTo>
                  <a:lnTo>
                    <a:pt x="60264" y="211915"/>
                  </a:lnTo>
                  <a:lnTo>
                    <a:pt x="54808" y="208194"/>
                  </a:lnTo>
                  <a:lnTo>
                    <a:pt x="39428" y="210758"/>
                  </a:lnTo>
                  <a:lnTo>
                    <a:pt x="36998" y="213581"/>
                  </a:lnTo>
                  <a:lnTo>
                    <a:pt x="35168" y="219053"/>
                  </a:lnTo>
                  <a:lnTo>
                    <a:pt x="29643" y="224565"/>
                  </a:lnTo>
                  <a:lnTo>
                    <a:pt x="27312" y="225267"/>
                  </a:lnTo>
                  <a:lnTo>
                    <a:pt x="19906" y="221491"/>
                  </a:lnTo>
                  <a:lnTo>
                    <a:pt x="13693" y="221255"/>
                  </a:lnTo>
                  <a:lnTo>
                    <a:pt x="3604" y="226374"/>
                  </a:lnTo>
                  <a:lnTo>
                    <a:pt x="3603" y="226370"/>
                  </a:lnTo>
                  <a:lnTo>
                    <a:pt x="3501" y="225777"/>
                  </a:lnTo>
                  <a:lnTo>
                    <a:pt x="609" y="218135"/>
                  </a:lnTo>
                  <a:lnTo>
                    <a:pt x="0" y="213642"/>
                  </a:lnTo>
                  <a:lnTo>
                    <a:pt x="330" y="205174"/>
                  </a:lnTo>
                  <a:lnTo>
                    <a:pt x="845" y="202603"/>
                  </a:lnTo>
                  <a:lnTo>
                    <a:pt x="1828" y="199360"/>
                  </a:lnTo>
                  <a:lnTo>
                    <a:pt x="5905" y="190122"/>
                  </a:lnTo>
                  <a:lnTo>
                    <a:pt x="7518" y="184979"/>
                  </a:lnTo>
                  <a:lnTo>
                    <a:pt x="8300" y="177205"/>
                  </a:lnTo>
                  <a:lnTo>
                    <a:pt x="10291" y="170158"/>
                  </a:lnTo>
                  <a:lnTo>
                    <a:pt x="14654" y="165871"/>
                  </a:lnTo>
                  <a:lnTo>
                    <a:pt x="23734" y="160239"/>
                  </a:lnTo>
                  <a:lnTo>
                    <a:pt x="38291" y="141186"/>
                  </a:lnTo>
                  <a:lnTo>
                    <a:pt x="39364" y="140322"/>
                  </a:lnTo>
                  <a:lnTo>
                    <a:pt x="41620" y="139762"/>
                  </a:lnTo>
                  <a:lnTo>
                    <a:pt x="42071" y="138559"/>
                  </a:lnTo>
                  <a:lnTo>
                    <a:pt x="42093" y="134486"/>
                  </a:lnTo>
                  <a:lnTo>
                    <a:pt x="42301" y="132561"/>
                  </a:lnTo>
                  <a:lnTo>
                    <a:pt x="47543" y="119775"/>
                  </a:lnTo>
                  <a:lnTo>
                    <a:pt x="48471" y="116388"/>
                  </a:lnTo>
                  <a:lnTo>
                    <a:pt x="48716" y="112630"/>
                  </a:lnTo>
                  <a:lnTo>
                    <a:pt x="48335" y="104317"/>
                  </a:lnTo>
                  <a:lnTo>
                    <a:pt x="48789" y="100718"/>
                  </a:lnTo>
                  <a:lnTo>
                    <a:pt x="50030" y="98410"/>
                  </a:lnTo>
                  <a:lnTo>
                    <a:pt x="57441" y="89539"/>
                  </a:lnTo>
                  <a:lnTo>
                    <a:pt x="61448" y="86258"/>
                  </a:lnTo>
                  <a:lnTo>
                    <a:pt x="63223" y="84053"/>
                  </a:lnTo>
                  <a:lnTo>
                    <a:pt x="64583" y="80377"/>
                  </a:lnTo>
                  <a:lnTo>
                    <a:pt x="66573" y="71535"/>
                  </a:lnTo>
                  <a:lnTo>
                    <a:pt x="68722" y="67190"/>
                  </a:lnTo>
                  <a:lnTo>
                    <a:pt x="75829" y="60932"/>
                  </a:lnTo>
                  <a:lnTo>
                    <a:pt x="90372" y="54321"/>
                  </a:lnTo>
                  <a:lnTo>
                    <a:pt x="95740" y="46794"/>
                  </a:lnTo>
                  <a:lnTo>
                    <a:pt x="97769" y="36441"/>
                  </a:lnTo>
                  <a:lnTo>
                    <a:pt x="95982" y="27188"/>
                  </a:lnTo>
                  <a:lnTo>
                    <a:pt x="90906" y="20475"/>
                  </a:lnTo>
                  <a:lnTo>
                    <a:pt x="83090" y="17630"/>
                  </a:lnTo>
                  <a:lnTo>
                    <a:pt x="87734" y="10809"/>
                  </a:lnTo>
                  <a:lnTo>
                    <a:pt x="89609" y="10946"/>
                  </a:lnTo>
                  <a:lnTo>
                    <a:pt x="91295" y="10630"/>
                  </a:lnTo>
                  <a:lnTo>
                    <a:pt x="99824" y="5611"/>
                  </a:lnTo>
                  <a:lnTo>
                    <a:pt x="106108" y="0"/>
                  </a:lnTo>
                  <a:lnTo>
                    <a:pt x="109460" y="3482"/>
                  </a:lnTo>
                  <a:lnTo>
                    <a:pt x="117195" y="7042"/>
                  </a:lnTo>
                  <a:lnTo>
                    <a:pt x="125537" y="13492"/>
                  </a:lnTo>
                  <a:lnTo>
                    <a:pt x="135861" y="18228"/>
                  </a:lnTo>
                  <a:lnTo>
                    <a:pt x="139276" y="28616"/>
                  </a:lnTo>
                  <a:lnTo>
                    <a:pt x="138849" y="36074"/>
                  </a:lnTo>
                  <a:lnTo>
                    <a:pt x="137794" y="41797"/>
                  </a:lnTo>
                  <a:lnTo>
                    <a:pt x="132498" y="48038"/>
                  </a:lnTo>
                  <a:lnTo>
                    <a:pt x="127559" y="51421"/>
                  </a:lnTo>
                  <a:lnTo>
                    <a:pt x="126527" y="55987"/>
                  </a:lnTo>
                  <a:lnTo>
                    <a:pt x="128076" y="60611"/>
                  </a:lnTo>
                  <a:lnTo>
                    <a:pt x="130290" y="64653"/>
                  </a:lnTo>
                  <a:lnTo>
                    <a:pt x="131202" y="69269"/>
                  </a:lnTo>
                  <a:lnTo>
                    <a:pt x="131108" y="75588"/>
                  </a:lnTo>
                  <a:lnTo>
                    <a:pt x="130076" y="79009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0C0F82D0-D314-FC13-DD59-E3D584FF9B37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5980307" y="5312031"/>
              <a:ext cx="454098" cy="507769"/>
            </a:xfrm>
            <a:custGeom>
              <a:avLst/>
              <a:gdLst/>
              <a:ahLst/>
              <a:cxnLst/>
              <a:rect l="0" t="0" r="0" b="0"/>
              <a:pathLst>
                <a:path w="185638" h="207579">
                  <a:moveTo>
                    <a:pt x="32825" y="2169"/>
                  </a:moveTo>
                  <a:lnTo>
                    <a:pt x="37562" y="1562"/>
                  </a:lnTo>
                  <a:lnTo>
                    <a:pt x="37555" y="2334"/>
                  </a:lnTo>
                  <a:lnTo>
                    <a:pt x="41619" y="7249"/>
                  </a:lnTo>
                  <a:lnTo>
                    <a:pt x="59315" y="21421"/>
                  </a:lnTo>
                  <a:lnTo>
                    <a:pt x="71569" y="32473"/>
                  </a:lnTo>
                  <a:lnTo>
                    <a:pt x="77371" y="37390"/>
                  </a:lnTo>
                  <a:lnTo>
                    <a:pt x="80797" y="38025"/>
                  </a:lnTo>
                  <a:lnTo>
                    <a:pt x="88372" y="33808"/>
                  </a:lnTo>
                  <a:lnTo>
                    <a:pt x="102476" y="26581"/>
                  </a:lnTo>
                  <a:lnTo>
                    <a:pt x="112793" y="18791"/>
                  </a:lnTo>
                  <a:lnTo>
                    <a:pt x="113268" y="20688"/>
                  </a:lnTo>
                  <a:lnTo>
                    <a:pt x="114827" y="20912"/>
                  </a:lnTo>
                  <a:lnTo>
                    <a:pt x="118126" y="16780"/>
                  </a:lnTo>
                  <a:lnTo>
                    <a:pt x="122548" y="14367"/>
                  </a:lnTo>
                  <a:lnTo>
                    <a:pt x="139080" y="11123"/>
                  </a:lnTo>
                  <a:lnTo>
                    <a:pt x="143623" y="11983"/>
                  </a:lnTo>
                  <a:lnTo>
                    <a:pt x="148979" y="17308"/>
                  </a:lnTo>
                  <a:lnTo>
                    <a:pt x="158049" y="18172"/>
                  </a:lnTo>
                  <a:lnTo>
                    <a:pt x="171997" y="24247"/>
                  </a:lnTo>
                  <a:lnTo>
                    <a:pt x="171829" y="27525"/>
                  </a:lnTo>
                  <a:lnTo>
                    <a:pt x="176844" y="37813"/>
                  </a:lnTo>
                  <a:lnTo>
                    <a:pt x="176726" y="43876"/>
                  </a:lnTo>
                  <a:lnTo>
                    <a:pt x="179590" y="45990"/>
                  </a:lnTo>
                  <a:lnTo>
                    <a:pt x="184374" y="45771"/>
                  </a:lnTo>
                  <a:lnTo>
                    <a:pt x="185637" y="47903"/>
                  </a:lnTo>
                  <a:lnTo>
                    <a:pt x="167318" y="70510"/>
                  </a:lnTo>
                  <a:lnTo>
                    <a:pt x="167014" y="74853"/>
                  </a:lnTo>
                  <a:lnTo>
                    <a:pt x="168991" y="76454"/>
                  </a:lnTo>
                  <a:lnTo>
                    <a:pt x="169586" y="79209"/>
                  </a:lnTo>
                  <a:lnTo>
                    <a:pt x="167608" y="84412"/>
                  </a:lnTo>
                  <a:lnTo>
                    <a:pt x="159325" y="85785"/>
                  </a:lnTo>
                  <a:lnTo>
                    <a:pt x="157045" y="88961"/>
                  </a:lnTo>
                  <a:lnTo>
                    <a:pt x="162140" y="97566"/>
                  </a:lnTo>
                  <a:lnTo>
                    <a:pt x="162542" y="102019"/>
                  </a:lnTo>
                  <a:lnTo>
                    <a:pt x="165611" y="104254"/>
                  </a:lnTo>
                  <a:lnTo>
                    <a:pt x="166379" y="107020"/>
                  </a:lnTo>
                  <a:lnTo>
                    <a:pt x="165236" y="111046"/>
                  </a:lnTo>
                  <a:lnTo>
                    <a:pt x="166076" y="121553"/>
                  </a:lnTo>
                  <a:lnTo>
                    <a:pt x="160178" y="130254"/>
                  </a:lnTo>
                  <a:lnTo>
                    <a:pt x="159987" y="135349"/>
                  </a:lnTo>
                  <a:lnTo>
                    <a:pt x="155268" y="150942"/>
                  </a:lnTo>
                  <a:lnTo>
                    <a:pt x="162729" y="161782"/>
                  </a:lnTo>
                  <a:lnTo>
                    <a:pt x="148124" y="171623"/>
                  </a:lnTo>
                  <a:lnTo>
                    <a:pt x="148535" y="178950"/>
                  </a:lnTo>
                  <a:lnTo>
                    <a:pt x="147193" y="184911"/>
                  </a:lnTo>
                  <a:lnTo>
                    <a:pt x="147116" y="192335"/>
                  </a:lnTo>
                  <a:lnTo>
                    <a:pt x="139427" y="196443"/>
                  </a:lnTo>
                  <a:lnTo>
                    <a:pt x="138095" y="198888"/>
                  </a:lnTo>
                  <a:lnTo>
                    <a:pt x="137355" y="206430"/>
                  </a:lnTo>
                  <a:lnTo>
                    <a:pt x="131791" y="207578"/>
                  </a:lnTo>
                  <a:lnTo>
                    <a:pt x="125533" y="199797"/>
                  </a:lnTo>
                  <a:lnTo>
                    <a:pt x="118964" y="195646"/>
                  </a:lnTo>
                  <a:lnTo>
                    <a:pt x="117654" y="191810"/>
                  </a:lnTo>
                  <a:lnTo>
                    <a:pt x="117523" y="179605"/>
                  </a:lnTo>
                  <a:lnTo>
                    <a:pt x="109990" y="176394"/>
                  </a:lnTo>
                  <a:lnTo>
                    <a:pt x="104334" y="161813"/>
                  </a:lnTo>
                  <a:lnTo>
                    <a:pt x="92179" y="147532"/>
                  </a:lnTo>
                  <a:lnTo>
                    <a:pt x="80772" y="144184"/>
                  </a:lnTo>
                  <a:lnTo>
                    <a:pt x="63851" y="144263"/>
                  </a:lnTo>
                  <a:lnTo>
                    <a:pt x="59604" y="141148"/>
                  </a:lnTo>
                  <a:lnTo>
                    <a:pt x="58127" y="141690"/>
                  </a:lnTo>
                  <a:lnTo>
                    <a:pt x="60111" y="134359"/>
                  </a:lnTo>
                  <a:lnTo>
                    <a:pt x="62462" y="124050"/>
                  </a:lnTo>
                  <a:lnTo>
                    <a:pt x="63161" y="118309"/>
                  </a:lnTo>
                  <a:lnTo>
                    <a:pt x="63214" y="111427"/>
                  </a:lnTo>
                  <a:lnTo>
                    <a:pt x="60985" y="105674"/>
                  </a:lnTo>
                  <a:lnTo>
                    <a:pt x="56486" y="99892"/>
                  </a:lnTo>
                  <a:lnTo>
                    <a:pt x="52600" y="98714"/>
                  </a:lnTo>
                  <a:lnTo>
                    <a:pt x="48375" y="99251"/>
                  </a:lnTo>
                  <a:lnTo>
                    <a:pt x="44453" y="102080"/>
                  </a:lnTo>
                  <a:lnTo>
                    <a:pt x="40843" y="106076"/>
                  </a:lnTo>
                  <a:lnTo>
                    <a:pt x="34024" y="106585"/>
                  </a:lnTo>
                  <a:lnTo>
                    <a:pt x="22007" y="106465"/>
                  </a:lnTo>
                  <a:lnTo>
                    <a:pt x="16489" y="106406"/>
                  </a:lnTo>
                  <a:lnTo>
                    <a:pt x="12267" y="106360"/>
                  </a:lnTo>
                  <a:lnTo>
                    <a:pt x="9055" y="103460"/>
                  </a:lnTo>
                  <a:lnTo>
                    <a:pt x="10084" y="98870"/>
                  </a:lnTo>
                  <a:lnTo>
                    <a:pt x="15338" y="92609"/>
                  </a:lnTo>
                  <a:lnTo>
                    <a:pt x="17658" y="88625"/>
                  </a:lnTo>
                  <a:lnTo>
                    <a:pt x="17689" y="85742"/>
                  </a:lnTo>
                  <a:lnTo>
                    <a:pt x="16109" y="81716"/>
                  </a:lnTo>
                  <a:lnTo>
                    <a:pt x="11617" y="77067"/>
                  </a:lnTo>
                  <a:lnTo>
                    <a:pt x="8107" y="72445"/>
                  </a:lnTo>
                  <a:lnTo>
                    <a:pt x="3363" y="62635"/>
                  </a:lnTo>
                  <a:lnTo>
                    <a:pt x="1140" y="55165"/>
                  </a:lnTo>
                  <a:lnTo>
                    <a:pt x="3742" y="54544"/>
                  </a:lnTo>
                  <a:lnTo>
                    <a:pt x="6699" y="53374"/>
                  </a:lnTo>
                  <a:lnTo>
                    <a:pt x="7668" y="48555"/>
                  </a:lnTo>
                  <a:lnTo>
                    <a:pt x="8192" y="42114"/>
                  </a:lnTo>
                  <a:lnTo>
                    <a:pt x="6894" y="36472"/>
                  </a:lnTo>
                  <a:lnTo>
                    <a:pt x="4888" y="34039"/>
                  </a:lnTo>
                  <a:lnTo>
                    <a:pt x="1302" y="30778"/>
                  </a:lnTo>
                  <a:lnTo>
                    <a:pt x="0" y="26338"/>
                  </a:lnTo>
                  <a:lnTo>
                    <a:pt x="1152" y="24753"/>
                  </a:lnTo>
                  <a:lnTo>
                    <a:pt x="2991" y="21951"/>
                  </a:lnTo>
                  <a:lnTo>
                    <a:pt x="3948" y="17538"/>
                  </a:lnTo>
                  <a:lnTo>
                    <a:pt x="3910" y="14141"/>
                  </a:lnTo>
                  <a:lnTo>
                    <a:pt x="4436" y="14741"/>
                  </a:lnTo>
                  <a:lnTo>
                    <a:pt x="6890" y="17572"/>
                  </a:lnTo>
                  <a:lnTo>
                    <a:pt x="12092" y="17631"/>
                  </a:lnTo>
                  <a:lnTo>
                    <a:pt x="14851" y="13634"/>
                  </a:lnTo>
                  <a:lnTo>
                    <a:pt x="15116" y="9213"/>
                  </a:lnTo>
                  <a:lnTo>
                    <a:pt x="13365" y="3970"/>
                  </a:lnTo>
                  <a:lnTo>
                    <a:pt x="14307" y="1562"/>
                  </a:lnTo>
                  <a:lnTo>
                    <a:pt x="17702" y="0"/>
                  </a:lnTo>
                  <a:lnTo>
                    <a:pt x="23130" y="58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CC2DE855-04C4-0DFD-1399-010CDF790869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5803638" y="5078120"/>
              <a:ext cx="129142" cy="201724"/>
            </a:xfrm>
            <a:custGeom>
              <a:avLst/>
              <a:gdLst/>
              <a:ahLst/>
              <a:cxnLst/>
              <a:rect l="0" t="0" r="0" b="0"/>
              <a:pathLst>
                <a:path w="52794" h="82466">
                  <a:moveTo>
                    <a:pt x="17450" y="2342"/>
                  </a:moveTo>
                  <a:lnTo>
                    <a:pt x="17435" y="2243"/>
                  </a:lnTo>
                  <a:lnTo>
                    <a:pt x="21895" y="6104"/>
                  </a:lnTo>
                  <a:lnTo>
                    <a:pt x="33276" y="9672"/>
                  </a:lnTo>
                  <a:lnTo>
                    <a:pt x="37144" y="12908"/>
                  </a:lnTo>
                  <a:lnTo>
                    <a:pt x="36822" y="14602"/>
                  </a:lnTo>
                  <a:lnTo>
                    <a:pt x="28031" y="19252"/>
                  </a:lnTo>
                  <a:lnTo>
                    <a:pt x="27435" y="23606"/>
                  </a:lnTo>
                  <a:lnTo>
                    <a:pt x="30499" y="29063"/>
                  </a:lnTo>
                  <a:lnTo>
                    <a:pt x="36111" y="30844"/>
                  </a:lnTo>
                  <a:lnTo>
                    <a:pt x="40984" y="39612"/>
                  </a:lnTo>
                  <a:lnTo>
                    <a:pt x="44867" y="41257"/>
                  </a:lnTo>
                  <a:lnTo>
                    <a:pt x="50346" y="39811"/>
                  </a:lnTo>
                  <a:lnTo>
                    <a:pt x="50485" y="55720"/>
                  </a:lnTo>
                  <a:lnTo>
                    <a:pt x="51045" y="64169"/>
                  </a:lnTo>
                  <a:lnTo>
                    <a:pt x="52793" y="66740"/>
                  </a:lnTo>
                  <a:lnTo>
                    <a:pt x="51829" y="73038"/>
                  </a:lnTo>
                  <a:lnTo>
                    <a:pt x="51726" y="80678"/>
                  </a:lnTo>
                  <a:lnTo>
                    <a:pt x="51702" y="82465"/>
                  </a:lnTo>
                  <a:lnTo>
                    <a:pt x="43003" y="74922"/>
                  </a:lnTo>
                  <a:lnTo>
                    <a:pt x="33874" y="66753"/>
                  </a:lnTo>
                  <a:lnTo>
                    <a:pt x="28748" y="62650"/>
                  </a:lnTo>
                  <a:lnTo>
                    <a:pt x="25032" y="60302"/>
                  </a:lnTo>
                  <a:lnTo>
                    <a:pt x="23579" y="58512"/>
                  </a:lnTo>
                  <a:lnTo>
                    <a:pt x="25081" y="57529"/>
                  </a:lnTo>
                  <a:lnTo>
                    <a:pt x="1850" y="52106"/>
                  </a:lnTo>
                  <a:lnTo>
                    <a:pt x="1847" y="52104"/>
                  </a:lnTo>
                  <a:lnTo>
                    <a:pt x="1435" y="50683"/>
                  </a:lnTo>
                  <a:lnTo>
                    <a:pt x="431" y="44920"/>
                  </a:lnTo>
                  <a:lnTo>
                    <a:pt x="115" y="37192"/>
                  </a:lnTo>
                  <a:lnTo>
                    <a:pt x="104" y="36857"/>
                  </a:lnTo>
                  <a:lnTo>
                    <a:pt x="45" y="33163"/>
                  </a:lnTo>
                  <a:lnTo>
                    <a:pt x="0" y="29608"/>
                  </a:lnTo>
                  <a:lnTo>
                    <a:pt x="68" y="28898"/>
                  </a:lnTo>
                  <a:lnTo>
                    <a:pt x="500" y="25192"/>
                  </a:lnTo>
                  <a:lnTo>
                    <a:pt x="501" y="25132"/>
                  </a:lnTo>
                  <a:lnTo>
                    <a:pt x="614" y="22389"/>
                  </a:lnTo>
                  <a:lnTo>
                    <a:pt x="719" y="19765"/>
                  </a:lnTo>
                  <a:lnTo>
                    <a:pt x="1197" y="5574"/>
                  </a:lnTo>
                  <a:lnTo>
                    <a:pt x="927" y="0"/>
                  </a:lnTo>
                  <a:lnTo>
                    <a:pt x="1131" y="4"/>
                  </a:lnTo>
                  <a:lnTo>
                    <a:pt x="5886" y="83"/>
                  </a:lnTo>
                  <a:lnTo>
                    <a:pt x="11570" y="1953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C2EA21C1-8C0B-84A9-71A1-3C876CCE8FC8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6961592" y="3991093"/>
              <a:ext cx="156693" cy="148821"/>
            </a:xfrm>
            <a:custGeom>
              <a:avLst/>
              <a:gdLst/>
              <a:ahLst/>
              <a:cxnLst/>
              <a:rect l="0" t="0" r="0" b="0"/>
              <a:pathLst>
                <a:path w="64057" h="60839">
                  <a:moveTo>
                    <a:pt x="36554" y="7320"/>
                  </a:moveTo>
                  <a:lnTo>
                    <a:pt x="39521" y="7266"/>
                  </a:lnTo>
                  <a:lnTo>
                    <a:pt x="42295" y="7215"/>
                  </a:lnTo>
                  <a:lnTo>
                    <a:pt x="44474" y="4785"/>
                  </a:lnTo>
                  <a:lnTo>
                    <a:pt x="46452" y="1668"/>
                  </a:lnTo>
                  <a:lnTo>
                    <a:pt x="48650" y="600"/>
                  </a:lnTo>
                  <a:lnTo>
                    <a:pt x="51422" y="548"/>
                  </a:lnTo>
                  <a:lnTo>
                    <a:pt x="53827" y="502"/>
                  </a:lnTo>
                  <a:lnTo>
                    <a:pt x="58266" y="416"/>
                  </a:lnTo>
                  <a:lnTo>
                    <a:pt x="61989" y="1369"/>
                  </a:lnTo>
                  <a:lnTo>
                    <a:pt x="62578" y="1910"/>
                  </a:lnTo>
                  <a:lnTo>
                    <a:pt x="64055" y="3076"/>
                  </a:lnTo>
                  <a:lnTo>
                    <a:pt x="64056" y="3077"/>
                  </a:lnTo>
                  <a:lnTo>
                    <a:pt x="63460" y="4765"/>
                  </a:lnTo>
                  <a:lnTo>
                    <a:pt x="58920" y="24680"/>
                  </a:lnTo>
                  <a:lnTo>
                    <a:pt x="57911" y="32506"/>
                  </a:lnTo>
                  <a:lnTo>
                    <a:pt x="58616" y="39613"/>
                  </a:lnTo>
                  <a:lnTo>
                    <a:pt x="62627" y="42645"/>
                  </a:lnTo>
                  <a:lnTo>
                    <a:pt x="63326" y="45911"/>
                  </a:lnTo>
                  <a:lnTo>
                    <a:pt x="60158" y="52965"/>
                  </a:lnTo>
                  <a:lnTo>
                    <a:pt x="59536" y="51319"/>
                  </a:lnTo>
                  <a:lnTo>
                    <a:pt x="58129" y="49628"/>
                  </a:lnTo>
                  <a:lnTo>
                    <a:pt x="51988" y="49074"/>
                  </a:lnTo>
                  <a:lnTo>
                    <a:pt x="46261" y="50545"/>
                  </a:lnTo>
                  <a:lnTo>
                    <a:pt x="37205" y="52764"/>
                  </a:lnTo>
                  <a:lnTo>
                    <a:pt x="31283" y="54233"/>
                  </a:lnTo>
                  <a:lnTo>
                    <a:pt x="24260" y="56061"/>
                  </a:lnTo>
                  <a:lnTo>
                    <a:pt x="18157" y="57537"/>
                  </a:lnTo>
                  <a:lnTo>
                    <a:pt x="12634" y="60352"/>
                  </a:lnTo>
                  <a:lnTo>
                    <a:pt x="7441" y="60791"/>
                  </a:lnTo>
                  <a:lnTo>
                    <a:pt x="4468" y="60838"/>
                  </a:lnTo>
                  <a:lnTo>
                    <a:pt x="1834" y="58826"/>
                  </a:lnTo>
                  <a:lnTo>
                    <a:pt x="466" y="54395"/>
                  </a:lnTo>
                  <a:lnTo>
                    <a:pt x="0" y="48251"/>
                  </a:lnTo>
                  <a:lnTo>
                    <a:pt x="483" y="43466"/>
                  </a:lnTo>
                  <a:lnTo>
                    <a:pt x="1929" y="40699"/>
                  </a:lnTo>
                  <a:lnTo>
                    <a:pt x="6928" y="40620"/>
                  </a:lnTo>
                  <a:lnTo>
                    <a:pt x="13234" y="40182"/>
                  </a:lnTo>
                  <a:lnTo>
                    <a:pt x="16305" y="35353"/>
                  </a:lnTo>
                  <a:lnTo>
                    <a:pt x="17685" y="29514"/>
                  </a:lnTo>
                  <a:lnTo>
                    <a:pt x="16286" y="23723"/>
                  </a:lnTo>
                  <a:lnTo>
                    <a:pt x="14014" y="20344"/>
                  </a:lnTo>
                  <a:lnTo>
                    <a:pt x="11187" y="17666"/>
                  </a:lnTo>
                  <a:lnTo>
                    <a:pt x="10172" y="12213"/>
                  </a:lnTo>
                  <a:lnTo>
                    <a:pt x="10667" y="8443"/>
                  </a:lnTo>
                  <a:lnTo>
                    <a:pt x="11926" y="6023"/>
                  </a:lnTo>
                  <a:lnTo>
                    <a:pt x="13900" y="2239"/>
                  </a:lnTo>
                  <a:lnTo>
                    <a:pt x="17195" y="487"/>
                  </a:lnTo>
                  <a:lnTo>
                    <a:pt x="24957" y="0"/>
                  </a:lnTo>
                  <a:lnTo>
                    <a:pt x="29766" y="272"/>
                  </a:lnTo>
                  <a:lnTo>
                    <a:pt x="33342" y="3270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518950D7-B4EF-670A-76A5-1C855B61645E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6228867" y="3556310"/>
              <a:ext cx="1026698" cy="904090"/>
            </a:xfrm>
            <a:custGeom>
              <a:avLst/>
              <a:gdLst/>
              <a:ahLst/>
              <a:cxnLst/>
              <a:rect l="0" t="0" r="0" b="0"/>
              <a:pathLst>
                <a:path w="419720" h="369597">
                  <a:moveTo>
                    <a:pt x="363598" y="180819"/>
                  </a:moveTo>
                  <a:lnTo>
                    <a:pt x="363597" y="180818"/>
                  </a:lnTo>
                  <a:lnTo>
                    <a:pt x="362120" y="179652"/>
                  </a:lnTo>
                  <a:lnTo>
                    <a:pt x="361531" y="179111"/>
                  </a:lnTo>
                  <a:lnTo>
                    <a:pt x="357808" y="178158"/>
                  </a:lnTo>
                  <a:lnTo>
                    <a:pt x="353369" y="178244"/>
                  </a:lnTo>
                  <a:lnTo>
                    <a:pt x="350964" y="178290"/>
                  </a:lnTo>
                  <a:lnTo>
                    <a:pt x="348192" y="178342"/>
                  </a:lnTo>
                  <a:lnTo>
                    <a:pt x="345994" y="179410"/>
                  </a:lnTo>
                  <a:lnTo>
                    <a:pt x="344016" y="182527"/>
                  </a:lnTo>
                  <a:lnTo>
                    <a:pt x="341837" y="184957"/>
                  </a:lnTo>
                  <a:lnTo>
                    <a:pt x="339063" y="185008"/>
                  </a:lnTo>
                  <a:lnTo>
                    <a:pt x="336096" y="185062"/>
                  </a:lnTo>
                  <a:lnTo>
                    <a:pt x="332884" y="181012"/>
                  </a:lnTo>
                  <a:lnTo>
                    <a:pt x="329308" y="178014"/>
                  </a:lnTo>
                  <a:lnTo>
                    <a:pt x="324499" y="177742"/>
                  </a:lnTo>
                  <a:lnTo>
                    <a:pt x="316737" y="178229"/>
                  </a:lnTo>
                  <a:lnTo>
                    <a:pt x="313442" y="179981"/>
                  </a:lnTo>
                  <a:lnTo>
                    <a:pt x="311468" y="183765"/>
                  </a:lnTo>
                  <a:lnTo>
                    <a:pt x="310209" y="186185"/>
                  </a:lnTo>
                  <a:lnTo>
                    <a:pt x="309714" y="189955"/>
                  </a:lnTo>
                  <a:lnTo>
                    <a:pt x="310729" y="195408"/>
                  </a:lnTo>
                  <a:lnTo>
                    <a:pt x="313556" y="198086"/>
                  </a:lnTo>
                  <a:lnTo>
                    <a:pt x="315828" y="201465"/>
                  </a:lnTo>
                  <a:lnTo>
                    <a:pt x="317227" y="207256"/>
                  </a:lnTo>
                  <a:lnTo>
                    <a:pt x="315847" y="213095"/>
                  </a:lnTo>
                  <a:lnTo>
                    <a:pt x="312776" y="217924"/>
                  </a:lnTo>
                  <a:lnTo>
                    <a:pt x="306470" y="218362"/>
                  </a:lnTo>
                  <a:lnTo>
                    <a:pt x="301471" y="218441"/>
                  </a:lnTo>
                  <a:lnTo>
                    <a:pt x="300025" y="221208"/>
                  </a:lnTo>
                  <a:lnTo>
                    <a:pt x="299542" y="225993"/>
                  </a:lnTo>
                  <a:lnTo>
                    <a:pt x="300008" y="232137"/>
                  </a:lnTo>
                  <a:lnTo>
                    <a:pt x="301376" y="236568"/>
                  </a:lnTo>
                  <a:lnTo>
                    <a:pt x="304010" y="238580"/>
                  </a:lnTo>
                  <a:lnTo>
                    <a:pt x="306983" y="238533"/>
                  </a:lnTo>
                  <a:lnTo>
                    <a:pt x="312176" y="238094"/>
                  </a:lnTo>
                  <a:lnTo>
                    <a:pt x="317699" y="235279"/>
                  </a:lnTo>
                  <a:lnTo>
                    <a:pt x="323802" y="233803"/>
                  </a:lnTo>
                  <a:lnTo>
                    <a:pt x="330825" y="231975"/>
                  </a:lnTo>
                  <a:lnTo>
                    <a:pt x="336747" y="230506"/>
                  </a:lnTo>
                  <a:lnTo>
                    <a:pt x="345803" y="228287"/>
                  </a:lnTo>
                  <a:lnTo>
                    <a:pt x="351530" y="226816"/>
                  </a:lnTo>
                  <a:lnTo>
                    <a:pt x="357671" y="227370"/>
                  </a:lnTo>
                  <a:lnTo>
                    <a:pt x="359078" y="229061"/>
                  </a:lnTo>
                  <a:lnTo>
                    <a:pt x="359700" y="230707"/>
                  </a:lnTo>
                  <a:lnTo>
                    <a:pt x="359698" y="230713"/>
                  </a:lnTo>
                  <a:lnTo>
                    <a:pt x="359585" y="230980"/>
                  </a:lnTo>
                  <a:lnTo>
                    <a:pt x="341395" y="261566"/>
                  </a:lnTo>
                  <a:lnTo>
                    <a:pt x="335245" y="275438"/>
                  </a:lnTo>
                  <a:lnTo>
                    <a:pt x="332745" y="289228"/>
                  </a:lnTo>
                  <a:lnTo>
                    <a:pt x="333422" y="292449"/>
                  </a:lnTo>
                  <a:lnTo>
                    <a:pt x="334694" y="294759"/>
                  </a:lnTo>
                  <a:lnTo>
                    <a:pt x="335780" y="297571"/>
                  </a:lnTo>
                  <a:lnTo>
                    <a:pt x="335838" y="302235"/>
                  </a:lnTo>
                  <a:lnTo>
                    <a:pt x="334849" y="304398"/>
                  </a:lnTo>
                  <a:lnTo>
                    <a:pt x="331101" y="309470"/>
                  </a:lnTo>
                  <a:lnTo>
                    <a:pt x="330303" y="311443"/>
                  </a:lnTo>
                  <a:lnTo>
                    <a:pt x="329133" y="318367"/>
                  </a:lnTo>
                  <a:lnTo>
                    <a:pt x="326132" y="322710"/>
                  </a:lnTo>
                  <a:lnTo>
                    <a:pt x="319055" y="328583"/>
                  </a:lnTo>
                  <a:lnTo>
                    <a:pt x="313575" y="336727"/>
                  </a:lnTo>
                  <a:lnTo>
                    <a:pt x="308701" y="345855"/>
                  </a:lnTo>
                  <a:lnTo>
                    <a:pt x="305360" y="350012"/>
                  </a:lnTo>
                  <a:lnTo>
                    <a:pt x="293806" y="357698"/>
                  </a:lnTo>
                  <a:lnTo>
                    <a:pt x="290326" y="360907"/>
                  </a:lnTo>
                  <a:lnTo>
                    <a:pt x="286675" y="365406"/>
                  </a:lnTo>
                  <a:lnTo>
                    <a:pt x="284742" y="369596"/>
                  </a:lnTo>
                  <a:lnTo>
                    <a:pt x="282568" y="367686"/>
                  </a:lnTo>
                  <a:lnTo>
                    <a:pt x="278371" y="367744"/>
                  </a:lnTo>
                  <a:lnTo>
                    <a:pt x="272455" y="368348"/>
                  </a:lnTo>
                  <a:lnTo>
                    <a:pt x="263765" y="357946"/>
                  </a:lnTo>
                  <a:lnTo>
                    <a:pt x="251290" y="356402"/>
                  </a:lnTo>
                  <a:lnTo>
                    <a:pt x="246024" y="353068"/>
                  </a:lnTo>
                  <a:lnTo>
                    <a:pt x="235561" y="337704"/>
                  </a:lnTo>
                  <a:lnTo>
                    <a:pt x="235905" y="332597"/>
                  </a:lnTo>
                  <a:lnTo>
                    <a:pt x="234559" y="325611"/>
                  </a:lnTo>
                  <a:lnTo>
                    <a:pt x="238010" y="317933"/>
                  </a:lnTo>
                  <a:lnTo>
                    <a:pt x="238358" y="313358"/>
                  </a:lnTo>
                  <a:lnTo>
                    <a:pt x="233929" y="310434"/>
                  </a:lnTo>
                  <a:lnTo>
                    <a:pt x="231582" y="302818"/>
                  </a:lnTo>
                  <a:lnTo>
                    <a:pt x="223231" y="296852"/>
                  </a:lnTo>
                  <a:lnTo>
                    <a:pt x="219748" y="290095"/>
                  </a:lnTo>
                  <a:lnTo>
                    <a:pt x="216249" y="286940"/>
                  </a:lnTo>
                  <a:lnTo>
                    <a:pt x="206170" y="287033"/>
                  </a:lnTo>
                  <a:lnTo>
                    <a:pt x="201206" y="281459"/>
                  </a:lnTo>
                  <a:lnTo>
                    <a:pt x="192486" y="277297"/>
                  </a:lnTo>
                  <a:lnTo>
                    <a:pt x="188156" y="278060"/>
                  </a:lnTo>
                  <a:lnTo>
                    <a:pt x="180965" y="283001"/>
                  </a:lnTo>
                  <a:lnTo>
                    <a:pt x="160476" y="282490"/>
                  </a:lnTo>
                  <a:lnTo>
                    <a:pt x="153607" y="285391"/>
                  </a:lnTo>
                  <a:lnTo>
                    <a:pt x="149635" y="288709"/>
                  </a:lnTo>
                  <a:lnTo>
                    <a:pt x="147731" y="292538"/>
                  </a:lnTo>
                  <a:lnTo>
                    <a:pt x="143653" y="310910"/>
                  </a:lnTo>
                  <a:lnTo>
                    <a:pt x="140936" y="313588"/>
                  </a:lnTo>
                  <a:lnTo>
                    <a:pt x="132800" y="307460"/>
                  </a:lnTo>
                  <a:lnTo>
                    <a:pt x="124801" y="306531"/>
                  </a:lnTo>
                  <a:lnTo>
                    <a:pt x="108788" y="298509"/>
                  </a:lnTo>
                  <a:lnTo>
                    <a:pt x="106931" y="299679"/>
                  </a:lnTo>
                  <a:lnTo>
                    <a:pt x="106246" y="307537"/>
                  </a:lnTo>
                  <a:lnTo>
                    <a:pt x="104924" y="309870"/>
                  </a:lnTo>
                  <a:lnTo>
                    <a:pt x="94148" y="312433"/>
                  </a:lnTo>
                  <a:lnTo>
                    <a:pt x="88640" y="317433"/>
                  </a:lnTo>
                  <a:lnTo>
                    <a:pt x="83697" y="317160"/>
                  </a:lnTo>
                  <a:lnTo>
                    <a:pt x="75761" y="316688"/>
                  </a:lnTo>
                  <a:lnTo>
                    <a:pt x="69847" y="319449"/>
                  </a:lnTo>
                  <a:lnTo>
                    <a:pt x="61144" y="313717"/>
                  </a:lnTo>
                  <a:lnTo>
                    <a:pt x="51458" y="315499"/>
                  </a:lnTo>
                  <a:lnTo>
                    <a:pt x="48742" y="314329"/>
                  </a:lnTo>
                  <a:lnTo>
                    <a:pt x="47236" y="312411"/>
                  </a:lnTo>
                  <a:lnTo>
                    <a:pt x="47317" y="301907"/>
                  </a:lnTo>
                  <a:lnTo>
                    <a:pt x="43439" y="298622"/>
                  </a:lnTo>
                  <a:lnTo>
                    <a:pt x="35791" y="301129"/>
                  </a:lnTo>
                  <a:lnTo>
                    <a:pt x="27975" y="298578"/>
                  </a:lnTo>
                  <a:lnTo>
                    <a:pt x="22632" y="302269"/>
                  </a:lnTo>
                  <a:lnTo>
                    <a:pt x="18345" y="302786"/>
                  </a:lnTo>
                  <a:lnTo>
                    <a:pt x="14293" y="301269"/>
                  </a:lnTo>
                  <a:lnTo>
                    <a:pt x="11007" y="297433"/>
                  </a:lnTo>
                  <a:lnTo>
                    <a:pt x="0" y="298336"/>
                  </a:lnTo>
                  <a:lnTo>
                    <a:pt x="3193" y="285302"/>
                  </a:lnTo>
                  <a:lnTo>
                    <a:pt x="9006" y="278756"/>
                  </a:lnTo>
                  <a:lnTo>
                    <a:pt x="10649" y="274934"/>
                  </a:lnTo>
                  <a:lnTo>
                    <a:pt x="10079" y="261130"/>
                  </a:lnTo>
                  <a:lnTo>
                    <a:pt x="12098" y="248731"/>
                  </a:lnTo>
                  <a:lnTo>
                    <a:pt x="10955" y="246287"/>
                  </a:lnTo>
                  <a:lnTo>
                    <a:pt x="12648" y="242248"/>
                  </a:lnTo>
                  <a:lnTo>
                    <a:pt x="24616" y="235317"/>
                  </a:lnTo>
                  <a:lnTo>
                    <a:pt x="29366" y="239351"/>
                  </a:lnTo>
                  <a:lnTo>
                    <a:pt x="36982" y="240500"/>
                  </a:lnTo>
                  <a:lnTo>
                    <a:pt x="51004" y="240532"/>
                  </a:lnTo>
                  <a:lnTo>
                    <a:pt x="66234" y="240552"/>
                  </a:lnTo>
                  <a:lnTo>
                    <a:pt x="76902" y="240557"/>
                  </a:lnTo>
                  <a:lnTo>
                    <a:pt x="86658" y="239429"/>
                  </a:lnTo>
                  <a:lnTo>
                    <a:pt x="93969" y="237743"/>
                  </a:lnTo>
                  <a:lnTo>
                    <a:pt x="98535" y="233808"/>
                  </a:lnTo>
                  <a:lnTo>
                    <a:pt x="98528" y="228764"/>
                  </a:lnTo>
                  <a:lnTo>
                    <a:pt x="96391" y="222598"/>
                  </a:lnTo>
                  <a:lnTo>
                    <a:pt x="94864" y="218670"/>
                  </a:lnTo>
                  <a:lnTo>
                    <a:pt x="93943" y="215315"/>
                  </a:lnTo>
                  <a:lnTo>
                    <a:pt x="94542" y="209708"/>
                  </a:lnTo>
                  <a:lnTo>
                    <a:pt x="96667" y="204670"/>
                  </a:lnTo>
                  <a:lnTo>
                    <a:pt x="101834" y="202412"/>
                  </a:lnTo>
                  <a:lnTo>
                    <a:pt x="107292" y="199597"/>
                  </a:lnTo>
                  <a:lnTo>
                    <a:pt x="112141" y="193417"/>
                  </a:lnTo>
                  <a:lnTo>
                    <a:pt x="116984" y="186683"/>
                  </a:lnTo>
                  <a:lnTo>
                    <a:pt x="121214" y="179938"/>
                  </a:lnTo>
                  <a:lnTo>
                    <a:pt x="126050" y="173763"/>
                  </a:lnTo>
                  <a:lnTo>
                    <a:pt x="135435" y="168674"/>
                  </a:lnTo>
                  <a:lnTo>
                    <a:pt x="139972" y="165851"/>
                  </a:lnTo>
                  <a:lnTo>
                    <a:pt x="146041" y="166948"/>
                  </a:lnTo>
                  <a:lnTo>
                    <a:pt x="151504" y="169163"/>
                  </a:lnTo>
                  <a:lnTo>
                    <a:pt x="156056" y="169701"/>
                  </a:lnTo>
                  <a:lnTo>
                    <a:pt x="159095" y="169684"/>
                  </a:lnTo>
                  <a:lnTo>
                    <a:pt x="163314" y="166303"/>
                  </a:lnTo>
                  <a:lnTo>
                    <a:pt x="168113" y="157863"/>
                  </a:lnTo>
                  <a:lnTo>
                    <a:pt x="171980" y="146614"/>
                  </a:lnTo>
                  <a:lnTo>
                    <a:pt x="171931" y="139339"/>
                  </a:lnTo>
                  <a:lnTo>
                    <a:pt x="171279" y="132611"/>
                  </a:lnTo>
                  <a:lnTo>
                    <a:pt x="167601" y="125350"/>
                  </a:lnTo>
                  <a:lnTo>
                    <a:pt x="163934" y="118640"/>
                  </a:lnTo>
                  <a:lnTo>
                    <a:pt x="162377" y="111917"/>
                  </a:lnTo>
                  <a:lnTo>
                    <a:pt x="162615" y="100149"/>
                  </a:lnTo>
                  <a:lnTo>
                    <a:pt x="166469" y="89465"/>
                  </a:lnTo>
                  <a:lnTo>
                    <a:pt x="177850" y="78748"/>
                  </a:lnTo>
                  <a:lnTo>
                    <a:pt x="186842" y="72502"/>
                  </a:lnTo>
                  <a:lnTo>
                    <a:pt x="194665" y="71888"/>
                  </a:lnTo>
                  <a:lnTo>
                    <a:pt x="203705" y="72363"/>
                  </a:lnTo>
                  <a:lnTo>
                    <a:pt x="211268" y="75669"/>
                  </a:lnTo>
                  <a:lnTo>
                    <a:pt x="219724" y="77819"/>
                  </a:lnTo>
                  <a:lnTo>
                    <a:pt x="224814" y="74964"/>
                  </a:lnTo>
                  <a:lnTo>
                    <a:pt x="225051" y="68801"/>
                  </a:lnTo>
                  <a:lnTo>
                    <a:pt x="221966" y="62101"/>
                  </a:lnTo>
                  <a:lnTo>
                    <a:pt x="215868" y="53751"/>
                  </a:lnTo>
                  <a:lnTo>
                    <a:pt x="209497" y="47652"/>
                  </a:lnTo>
                  <a:lnTo>
                    <a:pt x="200616" y="29233"/>
                  </a:lnTo>
                  <a:lnTo>
                    <a:pt x="200492" y="15218"/>
                  </a:lnTo>
                  <a:lnTo>
                    <a:pt x="200652" y="5898"/>
                  </a:lnTo>
                  <a:lnTo>
                    <a:pt x="200763" y="2847"/>
                  </a:lnTo>
                  <a:lnTo>
                    <a:pt x="200763" y="2839"/>
                  </a:lnTo>
                  <a:lnTo>
                    <a:pt x="213658" y="2721"/>
                  </a:lnTo>
                  <a:lnTo>
                    <a:pt x="215062" y="3547"/>
                  </a:lnTo>
                  <a:lnTo>
                    <a:pt x="217161" y="7258"/>
                  </a:lnTo>
                  <a:lnTo>
                    <a:pt x="219223" y="8123"/>
                  </a:lnTo>
                  <a:lnTo>
                    <a:pt x="221501" y="7307"/>
                  </a:lnTo>
                  <a:lnTo>
                    <a:pt x="223191" y="6000"/>
                  </a:lnTo>
                  <a:lnTo>
                    <a:pt x="224826" y="5704"/>
                  </a:lnTo>
                  <a:lnTo>
                    <a:pt x="227012" y="8043"/>
                  </a:lnTo>
                  <a:lnTo>
                    <a:pt x="233923" y="4564"/>
                  </a:lnTo>
                  <a:lnTo>
                    <a:pt x="251468" y="10469"/>
                  </a:lnTo>
                  <a:lnTo>
                    <a:pt x="257882" y="10048"/>
                  </a:lnTo>
                  <a:lnTo>
                    <a:pt x="261194" y="15259"/>
                  </a:lnTo>
                  <a:lnTo>
                    <a:pt x="262817" y="14662"/>
                  </a:lnTo>
                  <a:lnTo>
                    <a:pt x="264224" y="11706"/>
                  </a:lnTo>
                  <a:lnTo>
                    <a:pt x="266878" y="9930"/>
                  </a:lnTo>
                  <a:lnTo>
                    <a:pt x="270542" y="10315"/>
                  </a:lnTo>
                  <a:lnTo>
                    <a:pt x="280259" y="15186"/>
                  </a:lnTo>
                  <a:lnTo>
                    <a:pt x="281713" y="12257"/>
                  </a:lnTo>
                  <a:lnTo>
                    <a:pt x="283302" y="12794"/>
                  </a:lnTo>
                  <a:lnTo>
                    <a:pt x="285174" y="14539"/>
                  </a:lnTo>
                  <a:lnTo>
                    <a:pt x="287370" y="15082"/>
                  </a:lnTo>
                  <a:lnTo>
                    <a:pt x="289695" y="13726"/>
                  </a:lnTo>
                  <a:lnTo>
                    <a:pt x="293135" y="10239"/>
                  </a:lnTo>
                  <a:lnTo>
                    <a:pt x="294961" y="9527"/>
                  </a:lnTo>
                  <a:lnTo>
                    <a:pt x="298975" y="11952"/>
                  </a:lnTo>
                  <a:lnTo>
                    <a:pt x="301455" y="12597"/>
                  </a:lnTo>
                  <a:lnTo>
                    <a:pt x="302523" y="10715"/>
                  </a:lnTo>
                  <a:lnTo>
                    <a:pt x="303112" y="8560"/>
                  </a:lnTo>
                  <a:lnTo>
                    <a:pt x="304541" y="6485"/>
                  </a:lnTo>
                  <a:lnTo>
                    <a:pt x="306419" y="4900"/>
                  </a:lnTo>
                  <a:lnTo>
                    <a:pt x="308127" y="4110"/>
                  </a:lnTo>
                  <a:lnTo>
                    <a:pt x="312496" y="4863"/>
                  </a:lnTo>
                  <a:lnTo>
                    <a:pt x="321619" y="10320"/>
                  </a:lnTo>
                  <a:lnTo>
                    <a:pt x="325768" y="11633"/>
                  </a:lnTo>
                  <a:lnTo>
                    <a:pt x="331035" y="10420"/>
                  </a:lnTo>
                  <a:lnTo>
                    <a:pt x="343063" y="886"/>
                  </a:lnTo>
                  <a:lnTo>
                    <a:pt x="346354" y="0"/>
                  </a:lnTo>
                  <a:lnTo>
                    <a:pt x="368926" y="377"/>
                  </a:lnTo>
                  <a:lnTo>
                    <a:pt x="369106" y="1820"/>
                  </a:lnTo>
                  <a:lnTo>
                    <a:pt x="370422" y="5104"/>
                  </a:lnTo>
                  <a:lnTo>
                    <a:pt x="372267" y="8611"/>
                  </a:lnTo>
                  <a:lnTo>
                    <a:pt x="374083" y="10704"/>
                  </a:lnTo>
                  <a:lnTo>
                    <a:pt x="376584" y="10962"/>
                  </a:lnTo>
                  <a:lnTo>
                    <a:pt x="379903" y="7890"/>
                  </a:lnTo>
                  <a:lnTo>
                    <a:pt x="382407" y="7915"/>
                  </a:lnTo>
                  <a:lnTo>
                    <a:pt x="383830" y="9485"/>
                  </a:lnTo>
                  <a:lnTo>
                    <a:pt x="386288" y="14563"/>
                  </a:lnTo>
                  <a:lnTo>
                    <a:pt x="404068" y="33756"/>
                  </a:lnTo>
                  <a:lnTo>
                    <a:pt x="406062" y="40257"/>
                  </a:lnTo>
                  <a:lnTo>
                    <a:pt x="406934" y="47171"/>
                  </a:lnTo>
                  <a:lnTo>
                    <a:pt x="408244" y="53905"/>
                  </a:lnTo>
                  <a:lnTo>
                    <a:pt x="411541" y="59908"/>
                  </a:lnTo>
                  <a:lnTo>
                    <a:pt x="411597" y="62270"/>
                  </a:lnTo>
                  <a:lnTo>
                    <a:pt x="410885" y="67076"/>
                  </a:lnTo>
                  <a:lnTo>
                    <a:pt x="413139" y="71236"/>
                  </a:lnTo>
                  <a:lnTo>
                    <a:pt x="419129" y="77734"/>
                  </a:lnTo>
                  <a:lnTo>
                    <a:pt x="416214" y="78161"/>
                  </a:lnTo>
                  <a:lnTo>
                    <a:pt x="414896" y="81070"/>
                  </a:lnTo>
                  <a:lnTo>
                    <a:pt x="415159" y="84344"/>
                  </a:lnTo>
                  <a:lnTo>
                    <a:pt x="417153" y="85882"/>
                  </a:lnTo>
                  <a:lnTo>
                    <a:pt x="419719" y="86848"/>
                  </a:lnTo>
                  <a:lnTo>
                    <a:pt x="418422" y="89227"/>
                  </a:lnTo>
                  <a:lnTo>
                    <a:pt x="413748" y="93536"/>
                  </a:lnTo>
                  <a:lnTo>
                    <a:pt x="405595" y="105295"/>
                  </a:lnTo>
                  <a:lnTo>
                    <a:pt x="402188" y="112261"/>
                  </a:lnTo>
                  <a:lnTo>
                    <a:pt x="401799" y="117541"/>
                  </a:lnTo>
                  <a:lnTo>
                    <a:pt x="380713" y="138342"/>
                  </a:lnTo>
                  <a:lnTo>
                    <a:pt x="375569" y="146800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B8D97B2E-096A-E83F-1747-B73AF829F52B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6253316" y="3545402"/>
              <a:ext cx="526062" cy="599348"/>
            </a:xfrm>
            <a:custGeom>
              <a:avLst/>
              <a:gdLst/>
              <a:ahLst/>
              <a:cxnLst/>
              <a:rect l="0" t="0" r="0" b="0"/>
              <a:pathLst>
                <a:path w="215057" h="245017">
                  <a:moveTo>
                    <a:pt x="190768" y="7298"/>
                  </a:moveTo>
                  <a:lnTo>
                    <a:pt x="190768" y="7306"/>
                  </a:lnTo>
                  <a:lnTo>
                    <a:pt x="190657" y="10357"/>
                  </a:lnTo>
                  <a:lnTo>
                    <a:pt x="190497" y="19677"/>
                  </a:lnTo>
                  <a:lnTo>
                    <a:pt x="190621" y="33692"/>
                  </a:lnTo>
                  <a:lnTo>
                    <a:pt x="199502" y="52111"/>
                  </a:lnTo>
                  <a:lnTo>
                    <a:pt x="205873" y="58210"/>
                  </a:lnTo>
                  <a:lnTo>
                    <a:pt x="211971" y="66560"/>
                  </a:lnTo>
                  <a:lnTo>
                    <a:pt x="215056" y="73260"/>
                  </a:lnTo>
                  <a:lnTo>
                    <a:pt x="214819" y="79423"/>
                  </a:lnTo>
                  <a:lnTo>
                    <a:pt x="209729" y="82278"/>
                  </a:lnTo>
                  <a:lnTo>
                    <a:pt x="201273" y="80128"/>
                  </a:lnTo>
                  <a:lnTo>
                    <a:pt x="193710" y="76822"/>
                  </a:lnTo>
                  <a:lnTo>
                    <a:pt x="184670" y="76347"/>
                  </a:lnTo>
                  <a:lnTo>
                    <a:pt x="176847" y="76961"/>
                  </a:lnTo>
                  <a:lnTo>
                    <a:pt x="167855" y="83207"/>
                  </a:lnTo>
                  <a:lnTo>
                    <a:pt x="156474" y="93924"/>
                  </a:lnTo>
                  <a:lnTo>
                    <a:pt x="152620" y="104608"/>
                  </a:lnTo>
                  <a:lnTo>
                    <a:pt x="152382" y="116376"/>
                  </a:lnTo>
                  <a:lnTo>
                    <a:pt x="153939" y="123099"/>
                  </a:lnTo>
                  <a:lnTo>
                    <a:pt x="157606" y="129809"/>
                  </a:lnTo>
                  <a:lnTo>
                    <a:pt x="161284" y="137070"/>
                  </a:lnTo>
                  <a:lnTo>
                    <a:pt x="161936" y="143798"/>
                  </a:lnTo>
                  <a:lnTo>
                    <a:pt x="161985" y="151073"/>
                  </a:lnTo>
                  <a:lnTo>
                    <a:pt x="158118" y="162322"/>
                  </a:lnTo>
                  <a:lnTo>
                    <a:pt x="153319" y="170762"/>
                  </a:lnTo>
                  <a:lnTo>
                    <a:pt x="149100" y="174143"/>
                  </a:lnTo>
                  <a:lnTo>
                    <a:pt x="146061" y="174160"/>
                  </a:lnTo>
                  <a:lnTo>
                    <a:pt x="141509" y="173622"/>
                  </a:lnTo>
                  <a:lnTo>
                    <a:pt x="136046" y="171407"/>
                  </a:lnTo>
                  <a:lnTo>
                    <a:pt x="129977" y="170310"/>
                  </a:lnTo>
                  <a:lnTo>
                    <a:pt x="125440" y="173133"/>
                  </a:lnTo>
                  <a:lnTo>
                    <a:pt x="116055" y="178222"/>
                  </a:lnTo>
                  <a:lnTo>
                    <a:pt x="111219" y="184397"/>
                  </a:lnTo>
                  <a:lnTo>
                    <a:pt x="106989" y="191142"/>
                  </a:lnTo>
                  <a:lnTo>
                    <a:pt x="102146" y="197876"/>
                  </a:lnTo>
                  <a:lnTo>
                    <a:pt x="97297" y="204056"/>
                  </a:lnTo>
                  <a:lnTo>
                    <a:pt x="91839" y="206871"/>
                  </a:lnTo>
                  <a:lnTo>
                    <a:pt x="86672" y="209129"/>
                  </a:lnTo>
                  <a:lnTo>
                    <a:pt x="84547" y="214167"/>
                  </a:lnTo>
                  <a:lnTo>
                    <a:pt x="83948" y="219774"/>
                  </a:lnTo>
                  <a:lnTo>
                    <a:pt x="84869" y="223129"/>
                  </a:lnTo>
                  <a:lnTo>
                    <a:pt x="86396" y="227057"/>
                  </a:lnTo>
                  <a:lnTo>
                    <a:pt x="88533" y="233223"/>
                  </a:lnTo>
                  <a:lnTo>
                    <a:pt x="88540" y="238267"/>
                  </a:lnTo>
                  <a:lnTo>
                    <a:pt x="83974" y="242202"/>
                  </a:lnTo>
                  <a:lnTo>
                    <a:pt x="76663" y="243888"/>
                  </a:lnTo>
                  <a:lnTo>
                    <a:pt x="66907" y="245016"/>
                  </a:lnTo>
                  <a:lnTo>
                    <a:pt x="56239" y="245011"/>
                  </a:lnTo>
                  <a:lnTo>
                    <a:pt x="41009" y="244991"/>
                  </a:lnTo>
                  <a:lnTo>
                    <a:pt x="26987" y="244959"/>
                  </a:lnTo>
                  <a:lnTo>
                    <a:pt x="19371" y="243810"/>
                  </a:lnTo>
                  <a:lnTo>
                    <a:pt x="14621" y="239776"/>
                  </a:lnTo>
                  <a:lnTo>
                    <a:pt x="15378" y="239334"/>
                  </a:lnTo>
                  <a:lnTo>
                    <a:pt x="22488" y="232033"/>
                  </a:lnTo>
                  <a:lnTo>
                    <a:pt x="28194" y="231418"/>
                  </a:lnTo>
                  <a:lnTo>
                    <a:pt x="33807" y="224759"/>
                  </a:lnTo>
                  <a:lnTo>
                    <a:pt x="40208" y="220725"/>
                  </a:lnTo>
                  <a:lnTo>
                    <a:pt x="45512" y="213726"/>
                  </a:lnTo>
                  <a:lnTo>
                    <a:pt x="57092" y="208122"/>
                  </a:lnTo>
                  <a:lnTo>
                    <a:pt x="61749" y="208331"/>
                  </a:lnTo>
                  <a:lnTo>
                    <a:pt x="65036" y="204305"/>
                  </a:lnTo>
                  <a:lnTo>
                    <a:pt x="66984" y="198994"/>
                  </a:lnTo>
                  <a:lnTo>
                    <a:pt x="66353" y="194967"/>
                  </a:lnTo>
                  <a:lnTo>
                    <a:pt x="68422" y="191147"/>
                  </a:lnTo>
                  <a:lnTo>
                    <a:pt x="61245" y="185725"/>
                  </a:lnTo>
                  <a:lnTo>
                    <a:pt x="63260" y="167168"/>
                  </a:lnTo>
                  <a:lnTo>
                    <a:pt x="55520" y="162169"/>
                  </a:lnTo>
                  <a:lnTo>
                    <a:pt x="54717" y="159720"/>
                  </a:lnTo>
                  <a:lnTo>
                    <a:pt x="57537" y="155162"/>
                  </a:lnTo>
                  <a:lnTo>
                    <a:pt x="63265" y="150506"/>
                  </a:lnTo>
                  <a:lnTo>
                    <a:pt x="68824" y="139687"/>
                  </a:lnTo>
                  <a:lnTo>
                    <a:pt x="74494" y="134888"/>
                  </a:lnTo>
                  <a:lnTo>
                    <a:pt x="75807" y="130643"/>
                  </a:lnTo>
                  <a:lnTo>
                    <a:pt x="73044" y="115364"/>
                  </a:lnTo>
                  <a:lnTo>
                    <a:pt x="64648" y="113568"/>
                  </a:lnTo>
                  <a:lnTo>
                    <a:pt x="52432" y="101566"/>
                  </a:lnTo>
                  <a:lnTo>
                    <a:pt x="35919" y="104827"/>
                  </a:lnTo>
                  <a:lnTo>
                    <a:pt x="32371" y="106418"/>
                  </a:lnTo>
                  <a:lnTo>
                    <a:pt x="29326" y="110339"/>
                  </a:lnTo>
                  <a:lnTo>
                    <a:pt x="17781" y="111685"/>
                  </a:lnTo>
                  <a:lnTo>
                    <a:pt x="10494" y="120364"/>
                  </a:lnTo>
                  <a:lnTo>
                    <a:pt x="7049" y="121298"/>
                  </a:lnTo>
                  <a:lnTo>
                    <a:pt x="5861" y="119161"/>
                  </a:lnTo>
                  <a:lnTo>
                    <a:pt x="6907" y="114714"/>
                  </a:lnTo>
                  <a:lnTo>
                    <a:pt x="14040" y="105827"/>
                  </a:lnTo>
                  <a:lnTo>
                    <a:pt x="13605" y="99983"/>
                  </a:lnTo>
                  <a:lnTo>
                    <a:pt x="15243" y="87888"/>
                  </a:lnTo>
                  <a:lnTo>
                    <a:pt x="14809" y="82061"/>
                  </a:lnTo>
                  <a:lnTo>
                    <a:pt x="13631" y="76647"/>
                  </a:lnTo>
                  <a:lnTo>
                    <a:pt x="8625" y="72818"/>
                  </a:lnTo>
                  <a:lnTo>
                    <a:pt x="8938" y="66334"/>
                  </a:lnTo>
                  <a:lnTo>
                    <a:pt x="7757" y="62509"/>
                  </a:lnTo>
                  <a:lnTo>
                    <a:pt x="9134" y="59968"/>
                  </a:lnTo>
                  <a:lnTo>
                    <a:pt x="9274" y="55605"/>
                  </a:lnTo>
                  <a:lnTo>
                    <a:pt x="5183" y="52726"/>
                  </a:lnTo>
                  <a:lnTo>
                    <a:pt x="3399" y="44663"/>
                  </a:lnTo>
                  <a:lnTo>
                    <a:pt x="122" y="37383"/>
                  </a:lnTo>
                  <a:lnTo>
                    <a:pt x="3" y="36909"/>
                  </a:lnTo>
                  <a:lnTo>
                    <a:pt x="0" y="36897"/>
                  </a:lnTo>
                  <a:lnTo>
                    <a:pt x="14327" y="26218"/>
                  </a:lnTo>
                  <a:lnTo>
                    <a:pt x="26534" y="23398"/>
                  </a:lnTo>
                  <a:lnTo>
                    <a:pt x="25007" y="27590"/>
                  </a:lnTo>
                  <a:lnTo>
                    <a:pt x="23953" y="29391"/>
                  </a:lnTo>
                  <a:lnTo>
                    <a:pt x="22324" y="31219"/>
                  </a:lnTo>
                  <a:lnTo>
                    <a:pt x="25006" y="33436"/>
                  </a:lnTo>
                  <a:lnTo>
                    <a:pt x="27638" y="33226"/>
                  </a:lnTo>
                  <a:lnTo>
                    <a:pt x="30413" y="31989"/>
                  </a:lnTo>
                  <a:lnTo>
                    <a:pt x="33503" y="31251"/>
                  </a:lnTo>
                  <a:lnTo>
                    <a:pt x="29319" y="21043"/>
                  </a:lnTo>
                  <a:lnTo>
                    <a:pt x="36832" y="23736"/>
                  </a:lnTo>
                  <a:lnTo>
                    <a:pt x="40891" y="24225"/>
                  </a:lnTo>
                  <a:lnTo>
                    <a:pt x="44811" y="23439"/>
                  </a:lnTo>
                  <a:lnTo>
                    <a:pt x="47735" y="21205"/>
                  </a:lnTo>
                  <a:lnTo>
                    <a:pt x="51017" y="17059"/>
                  </a:lnTo>
                  <a:lnTo>
                    <a:pt x="52959" y="12211"/>
                  </a:lnTo>
                  <a:lnTo>
                    <a:pt x="51792" y="7826"/>
                  </a:lnTo>
                  <a:lnTo>
                    <a:pt x="53807" y="3897"/>
                  </a:lnTo>
                  <a:lnTo>
                    <a:pt x="55652" y="3556"/>
                  </a:lnTo>
                  <a:lnTo>
                    <a:pt x="57645" y="4707"/>
                  </a:lnTo>
                  <a:lnTo>
                    <a:pt x="60170" y="5222"/>
                  </a:lnTo>
                  <a:lnTo>
                    <a:pt x="62788" y="4150"/>
                  </a:lnTo>
                  <a:lnTo>
                    <a:pt x="68221" y="747"/>
                  </a:lnTo>
                  <a:lnTo>
                    <a:pt x="70687" y="0"/>
                  </a:lnTo>
                  <a:lnTo>
                    <a:pt x="96087" y="1077"/>
                  </a:lnTo>
                  <a:lnTo>
                    <a:pt x="111360" y="11141"/>
                  </a:lnTo>
                  <a:lnTo>
                    <a:pt x="138247" y="20421"/>
                  </a:lnTo>
                  <a:lnTo>
                    <a:pt x="147199" y="20684"/>
                  </a:lnTo>
                  <a:lnTo>
                    <a:pt x="155441" y="17993"/>
                  </a:lnTo>
                  <a:lnTo>
                    <a:pt x="168007" y="8707"/>
                  </a:lnTo>
                  <a:lnTo>
                    <a:pt x="171389" y="7454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2878A6A2-A0A8-3E73-3505-F6623A6E4C62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6111973" y="5107276"/>
              <a:ext cx="264377" cy="146123"/>
            </a:xfrm>
            <a:custGeom>
              <a:avLst/>
              <a:gdLst/>
              <a:ahLst/>
              <a:cxnLst/>
              <a:rect l="0" t="0" r="0" b="0"/>
              <a:pathLst>
                <a:path w="108079" h="59736">
                  <a:moveTo>
                    <a:pt x="58210" y="405"/>
                  </a:moveTo>
                  <a:lnTo>
                    <a:pt x="60890" y="5252"/>
                  </a:lnTo>
                  <a:lnTo>
                    <a:pt x="61946" y="8055"/>
                  </a:lnTo>
                  <a:lnTo>
                    <a:pt x="63820" y="8716"/>
                  </a:lnTo>
                  <a:lnTo>
                    <a:pt x="67915" y="7909"/>
                  </a:lnTo>
                  <a:lnTo>
                    <a:pt x="69374" y="8085"/>
                  </a:lnTo>
                  <a:lnTo>
                    <a:pt x="70879" y="10096"/>
                  </a:lnTo>
                  <a:lnTo>
                    <a:pt x="71886" y="12681"/>
                  </a:lnTo>
                  <a:lnTo>
                    <a:pt x="73268" y="14956"/>
                  </a:lnTo>
                  <a:lnTo>
                    <a:pt x="75838" y="15944"/>
                  </a:lnTo>
                  <a:lnTo>
                    <a:pt x="87919" y="13290"/>
                  </a:lnTo>
                  <a:lnTo>
                    <a:pt x="92690" y="13378"/>
                  </a:lnTo>
                  <a:lnTo>
                    <a:pt x="108078" y="17777"/>
                  </a:lnTo>
                  <a:lnTo>
                    <a:pt x="108073" y="17784"/>
                  </a:lnTo>
                  <a:lnTo>
                    <a:pt x="106530" y="19983"/>
                  </a:lnTo>
                  <a:lnTo>
                    <a:pt x="100769" y="25020"/>
                  </a:lnTo>
                  <a:lnTo>
                    <a:pt x="94947" y="25009"/>
                  </a:lnTo>
                  <a:lnTo>
                    <a:pt x="92225" y="22348"/>
                  </a:lnTo>
                  <a:lnTo>
                    <a:pt x="88125" y="23296"/>
                  </a:lnTo>
                  <a:lnTo>
                    <a:pt x="80314" y="33148"/>
                  </a:lnTo>
                  <a:lnTo>
                    <a:pt x="74060" y="37265"/>
                  </a:lnTo>
                  <a:lnTo>
                    <a:pt x="73392" y="41932"/>
                  </a:lnTo>
                  <a:lnTo>
                    <a:pt x="62256" y="45818"/>
                  </a:lnTo>
                  <a:lnTo>
                    <a:pt x="50490" y="57020"/>
                  </a:lnTo>
                  <a:lnTo>
                    <a:pt x="42986" y="59735"/>
                  </a:lnTo>
                  <a:lnTo>
                    <a:pt x="41692" y="55472"/>
                  </a:lnTo>
                  <a:lnTo>
                    <a:pt x="32851" y="51392"/>
                  </a:lnTo>
                  <a:lnTo>
                    <a:pt x="24865" y="45081"/>
                  </a:lnTo>
                  <a:lnTo>
                    <a:pt x="30850" y="38860"/>
                  </a:lnTo>
                  <a:lnTo>
                    <a:pt x="31693" y="37592"/>
                  </a:lnTo>
                  <a:lnTo>
                    <a:pt x="31103" y="36414"/>
                  </a:lnTo>
                  <a:lnTo>
                    <a:pt x="18809" y="35798"/>
                  </a:lnTo>
                  <a:lnTo>
                    <a:pt x="16166" y="31433"/>
                  </a:lnTo>
                  <a:lnTo>
                    <a:pt x="15734" y="25487"/>
                  </a:lnTo>
                  <a:lnTo>
                    <a:pt x="7722" y="25110"/>
                  </a:lnTo>
                  <a:lnTo>
                    <a:pt x="9192" y="19494"/>
                  </a:lnTo>
                  <a:lnTo>
                    <a:pt x="8195" y="17038"/>
                  </a:lnTo>
                  <a:lnTo>
                    <a:pt x="775" y="17727"/>
                  </a:lnTo>
                  <a:lnTo>
                    <a:pt x="0" y="14740"/>
                  </a:lnTo>
                  <a:lnTo>
                    <a:pt x="4885" y="10653"/>
                  </a:lnTo>
                  <a:lnTo>
                    <a:pt x="19226" y="5282"/>
                  </a:lnTo>
                  <a:lnTo>
                    <a:pt x="40013" y="2977"/>
                  </a:lnTo>
                  <a:lnTo>
                    <a:pt x="51935" y="0"/>
                  </a:lnTo>
                  <a:lnTo>
                    <a:pt x="58202" y="405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A04EE193-F86A-47DC-2B2C-EF9A2BD07CAD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5687392" y="4647380"/>
              <a:ext cx="566973" cy="545800"/>
            </a:xfrm>
            <a:custGeom>
              <a:avLst/>
              <a:gdLst/>
              <a:ahLst/>
              <a:cxnLst/>
              <a:rect l="0" t="0" r="0" b="0"/>
              <a:pathLst>
                <a:path w="231782" h="223126">
                  <a:moveTo>
                    <a:pt x="116233" y="20818"/>
                  </a:moveTo>
                  <a:lnTo>
                    <a:pt x="116260" y="20798"/>
                  </a:lnTo>
                  <a:lnTo>
                    <a:pt x="117390" y="22905"/>
                  </a:lnTo>
                  <a:lnTo>
                    <a:pt x="128062" y="19143"/>
                  </a:lnTo>
                  <a:lnTo>
                    <a:pt x="140532" y="12411"/>
                  </a:lnTo>
                  <a:lnTo>
                    <a:pt x="144970" y="11077"/>
                  </a:lnTo>
                  <a:lnTo>
                    <a:pt x="146833" y="11619"/>
                  </a:lnTo>
                  <a:lnTo>
                    <a:pt x="147042" y="11454"/>
                  </a:lnTo>
                  <a:lnTo>
                    <a:pt x="151868" y="15313"/>
                  </a:lnTo>
                  <a:lnTo>
                    <a:pt x="157312" y="28321"/>
                  </a:lnTo>
                  <a:lnTo>
                    <a:pt x="150774" y="30172"/>
                  </a:lnTo>
                  <a:lnTo>
                    <a:pt x="146106" y="34151"/>
                  </a:lnTo>
                  <a:lnTo>
                    <a:pt x="137913" y="32366"/>
                  </a:lnTo>
                  <a:lnTo>
                    <a:pt x="137756" y="57522"/>
                  </a:lnTo>
                  <a:lnTo>
                    <a:pt x="136448" y="60173"/>
                  </a:lnTo>
                  <a:lnTo>
                    <a:pt x="136388" y="60173"/>
                  </a:lnTo>
                  <a:lnTo>
                    <a:pt x="134787" y="62050"/>
                  </a:lnTo>
                  <a:lnTo>
                    <a:pt x="129716" y="61756"/>
                  </a:lnTo>
                  <a:lnTo>
                    <a:pt x="128746" y="64302"/>
                  </a:lnTo>
                  <a:lnTo>
                    <a:pt x="127492" y="64436"/>
                  </a:lnTo>
                  <a:lnTo>
                    <a:pt x="128564" y="64961"/>
                  </a:lnTo>
                  <a:lnTo>
                    <a:pt x="128608" y="71004"/>
                  </a:lnTo>
                  <a:lnTo>
                    <a:pt x="131102" y="73896"/>
                  </a:lnTo>
                  <a:lnTo>
                    <a:pt x="130488" y="81215"/>
                  </a:lnTo>
                  <a:lnTo>
                    <a:pt x="140725" y="92367"/>
                  </a:lnTo>
                  <a:lnTo>
                    <a:pt x="151361" y="94924"/>
                  </a:lnTo>
                  <a:lnTo>
                    <a:pt x="155786" y="100813"/>
                  </a:lnTo>
                  <a:lnTo>
                    <a:pt x="159299" y="102644"/>
                  </a:lnTo>
                  <a:lnTo>
                    <a:pt x="160890" y="102442"/>
                  </a:lnTo>
                  <a:lnTo>
                    <a:pt x="162402" y="98526"/>
                  </a:lnTo>
                  <a:lnTo>
                    <a:pt x="163819" y="98125"/>
                  </a:lnTo>
                  <a:lnTo>
                    <a:pt x="167315" y="103142"/>
                  </a:lnTo>
                  <a:lnTo>
                    <a:pt x="177555" y="104602"/>
                  </a:lnTo>
                  <a:lnTo>
                    <a:pt x="184688" y="111669"/>
                  </a:lnTo>
                  <a:lnTo>
                    <a:pt x="196503" y="118231"/>
                  </a:lnTo>
                  <a:lnTo>
                    <a:pt x="202522" y="125914"/>
                  </a:lnTo>
                  <a:lnTo>
                    <a:pt x="210032" y="124263"/>
                  </a:lnTo>
                  <a:lnTo>
                    <a:pt x="211032" y="125216"/>
                  </a:lnTo>
                  <a:lnTo>
                    <a:pt x="211459" y="132653"/>
                  </a:lnTo>
                  <a:lnTo>
                    <a:pt x="213157" y="134588"/>
                  </a:lnTo>
                  <a:lnTo>
                    <a:pt x="213884" y="134119"/>
                  </a:lnTo>
                  <a:lnTo>
                    <a:pt x="213096" y="138359"/>
                  </a:lnTo>
                  <a:lnTo>
                    <a:pt x="210556" y="147744"/>
                  </a:lnTo>
                  <a:lnTo>
                    <a:pt x="207269" y="153766"/>
                  </a:lnTo>
                  <a:lnTo>
                    <a:pt x="205871" y="158239"/>
                  </a:lnTo>
                  <a:lnTo>
                    <a:pt x="206721" y="162274"/>
                  </a:lnTo>
                  <a:lnTo>
                    <a:pt x="209061" y="166533"/>
                  </a:lnTo>
                  <a:lnTo>
                    <a:pt x="210914" y="166643"/>
                  </a:lnTo>
                  <a:lnTo>
                    <a:pt x="210911" y="167004"/>
                  </a:lnTo>
                  <a:lnTo>
                    <a:pt x="223603" y="176091"/>
                  </a:lnTo>
                  <a:lnTo>
                    <a:pt x="225410" y="179039"/>
                  </a:lnTo>
                  <a:lnTo>
                    <a:pt x="227176" y="180073"/>
                  </a:lnTo>
                  <a:lnTo>
                    <a:pt x="231781" y="188413"/>
                  </a:lnTo>
                  <a:lnTo>
                    <a:pt x="231773" y="188413"/>
                  </a:lnTo>
                  <a:lnTo>
                    <a:pt x="225506" y="188008"/>
                  </a:lnTo>
                  <a:lnTo>
                    <a:pt x="213584" y="190985"/>
                  </a:lnTo>
                  <a:lnTo>
                    <a:pt x="192797" y="193290"/>
                  </a:lnTo>
                  <a:lnTo>
                    <a:pt x="178456" y="198661"/>
                  </a:lnTo>
                  <a:lnTo>
                    <a:pt x="173571" y="202748"/>
                  </a:lnTo>
                  <a:lnTo>
                    <a:pt x="172225" y="197543"/>
                  </a:lnTo>
                  <a:lnTo>
                    <a:pt x="158520" y="197420"/>
                  </a:lnTo>
                  <a:lnTo>
                    <a:pt x="152524" y="203839"/>
                  </a:lnTo>
                  <a:lnTo>
                    <a:pt x="149095" y="205068"/>
                  </a:lnTo>
                  <a:lnTo>
                    <a:pt x="147638" y="205587"/>
                  </a:lnTo>
                  <a:lnTo>
                    <a:pt x="145872" y="203871"/>
                  </a:lnTo>
                  <a:lnTo>
                    <a:pt x="146390" y="199098"/>
                  </a:lnTo>
                  <a:lnTo>
                    <a:pt x="145659" y="196227"/>
                  </a:lnTo>
                  <a:lnTo>
                    <a:pt x="142205" y="197257"/>
                  </a:lnTo>
                  <a:lnTo>
                    <a:pt x="140676" y="201388"/>
                  </a:lnTo>
                  <a:lnTo>
                    <a:pt x="138704" y="203065"/>
                  </a:lnTo>
                  <a:lnTo>
                    <a:pt x="133644" y="199495"/>
                  </a:lnTo>
                  <a:lnTo>
                    <a:pt x="123130" y="199493"/>
                  </a:lnTo>
                  <a:lnTo>
                    <a:pt x="116817" y="197186"/>
                  </a:lnTo>
                  <a:lnTo>
                    <a:pt x="114581" y="200447"/>
                  </a:lnTo>
                  <a:lnTo>
                    <a:pt x="118658" y="211427"/>
                  </a:lnTo>
                  <a:lnTo>
                    <a:pt x="119107" y="219074"/>
                  </a:lnTo>
                  <a:lnTo>
                    <a:pt x="117097" y="222565"/>
                  </a:lnTo>
                  <a:lnTo>
                    <a:pt x="111269" y="223125"/>
                  </a:lnTo>
                  <a:lnTo>
                    <a:pt x="98883" y="215637"/>
                  </a:lnTo>
                  <a:lnTo>
                    <a:pt x="97868" y="215900"/>
                  </a:lnTo>
                  <a:lnTo>
                    <a:pt x="92389" y="217346"/>
                  </a:lnTo>
                  <a:lnTo>
                    <a:pt x="88506" y="215701"/>
                  </a:lnTo>
                  <a:lnTo>
                    <a:pt x="83633" y="206933"/>
                  </a:lnTo>
                  <a:lnTo>
                    <a:pt x="78021" y="205152"/>
                  </a:lnTo>
                  <a:lnTo>
                    <a:pt x="74957" y="199695"/>
                  </a:lnTo>
                  <a:lnTo>
                    <a:pt x="75553" y="195341"/>
                  </a:lnTo>
                  <a:lnTo>
                    <a:pt x="84344" y="190691"/>
                  </a:lnTo>
                  <a:lnTo>
                    <a:pt x="84666" y="188997"/>
                  </a:lnTo>
                  <a:lnTo>
                    <a:pt x="80798" y="185761"/>
                  </a:lnTo>
                  <a:lnTo>
                    <a:pt x="69417" y="182193"/>
                  </a:lnTo>
                  <a:lnTo>
                    <a:pt x="64957" y="178332"/>
                  </a:lnTo>
                  <a:lnTo>
                    <a:pt x="64972" y="178431"/>
                  </a:lnTo>
                  <a:lnTo>
                    <a:pt x="59092" y="178042"/>
                  </a:lnTo>
                  <a:lnTo>
                    <a:pt x="53408" y="176172"/>
                  </a:lnTo>
                  <a:lnTo>
                    <a:pt x="48653" y="176093"/>
                  </a:lnTo>
                  <a:lnTo>
                    <a:pt x="45901" y="172037"/>
                  </a:lnTo>
                  <a:lnTo>
                    <a:pt x="41553" y="157920"/>
                  </a:lnTo>
                  <a:lnTo>
                    <a:pt x="34815" y="139534"/>
                  </a:lnTo>
                  <a:lnTo>
                    <a:pt x="31909" y="129707"/>
                  </a:lnTo>
                  <a:lnTo>
                    <a:pt x="31613" y="119728"/>
                  </a:lnTo>
                  <a:lnTo>
                    <a:pt x="31588" y="118996"/>
                  </a:lnTo>
                  <a:lnTo>
                    <a:pt x="31566" y="118383"/>
                  </a:lnTo>
                  <a:lnTo>
                    <a:pt x="31263" y="110587"/>
                  </a:lnTo>
                  <a:lnTo>
                    <a:pt x="32356" y="106885"/>
                  </a:lnTo>
                  <a:lnTo>
                    <a:pt x="32464" y="107321"/>
                  </a:lnTo>
                  <a:lnTo>
                    <a:pt x="33637" y="101871"/>
                  </a:lnTo>
                  <a:lnTo>
                    <a:pt x="36249" y="99331"/>
                  </a:lnTo>
                  <a:lnTo>
                    <a:pt x="37365" y="98235"/>
                  </a:lnTo>
                  <a:lnTo>
                    <a:pt x="37382" y="98226"/>
                  </a:lnTo>
                  <a:lnTo>
                    <a:pt x="35224" y="95067"/>
                  </a:lnTo>
                  <a:lnTo>
                    <a:pt x="34728" y="92195"/>
                  </a:lnTo>
                  <a:lnTo>
                    <a:pt x="34483" y="90847"/>
                  </a:lnTo>
                  <a:lnTo>
                    <a:pt x="39388" y="83074"/>
                  </a:lnTo>
                  <a:lnTo>
                    <a:pt x="27523" y="80570"/>
                  </a:lnTo>
                  <a:lnTo>
                    <a:pt x="24622" y="79963"/>
                  </a:lnTo>
                  <a:lnTo>
                    <a:pt x="22927" y="80425"/>
                  </a:lnTo>
                  <a:lnTo>
                    <a:pt x="11887" y="83533"/>
                  </a:lnTo>
                  <a:lnTo>
                    <a:pt x="10852" y="81854"/>
                  </a:lnTo>
                  <a:lnTo>
                    <a:pt x="10698" y="81594"/>
                  </a:lnTo>
                  <a:lnTo>
                    <a:pt x="11293" y="80321"/>
                  </a:lnTo>
                  <a:lnTo>
                    <a:pt x="12961" y="76760"/>
                  </a:lnTo>
                  <a:lnTo>
                    <a:pt x="12837" y="75295"/>
                  </a:lnTo>
                  <a:lnTo>
                    <a:pt x="12735" y="74089"/>
                  </a:lnTo>
                  <a:lnTo>
                    <a:pt x="771" y="66268"/>
                  </a:lnTo>
                  <a:lnTo>
                    <a:pt x="0" y="63547"/>
                  </a:lnTo>
                  <a:lnTo>
                    <a:pt x="5813" y="55171"/>
                  </a:lnTo>
                  <a:lnTo>
                    <a:pt x="6572" y="52224"/>
                  </a:lnTo>
                  <a:lnTo>
                    <a:pt x="7411" y="49042"/>
                  </a:lnTo>
                  <a:lnTo>
                    <a:pt x="14469" y="42070"/>
                  </a:lnTo>
                  <a:lnTo>
                    <a:pt x="23995" y="38222"/>
                  </a:lnTo>
                  <a:lnTo>
                    <a:pt x="24715" y="33082"/>
                  </a:lnTo>
                  <a:lnTo>
                    <a:pt x="24877" y="31958"/>
                  </a:lnTo>
                  <a:lnTo>
                    <a:pt x="29377" y="29455"/>
                  </a:lnTo>
                  <a:lnTo>
                    <a:pt x="36891" y="29729"/>
                  </a:lnTo>
                  <a:lnTo>
                    <a:pt x="42488" y="25423"/>
                  </a:lnTo>
                  <a:lnTo>
                    <a:pt x="42521" y="25443"/>
                  </a:lnTo>
                  <a:lnTo>
                    <a:pt x="50867" y="17688"/>
                  </a:lnTo>
                  <a:lnTo>
                    <a:pt x="58247" y="14828"/>
                  </a:lnTo>
                  <a:lnTo>
                    <a:pt x="65810" y="14634"/>
                  </a:lnTo>
                  <a:lnTo>
                    <a:pt x="67713" y="12868"/>
                  </a:lnTo>
                  <a:lnTo>
                    <a:pt x="67705" y="9569"/>
                  </a:lnTo>
                  <a:lnTo>
                    <a:pt x="69494" y="7781"/>
                  </a:lnTo>
                  <a:lnTo>
                    <a:pt x="72185" y="7723"/>
                  </a:lnTo>
                  <a:lnTo>
                    <a:pt x="75822" y="11078"/>
                  </a:lnTo>
                  <a:lnTo>
                    <a:pt x="78345" y="10682"/>
                  </a:lnTo>
                  <a:lnTo>
                    <a:pt x="95292" y="5516"/>
                  </a:lnTo>
                  <a:lnTo>
                    <a:pt x="103564" y="0"/>
                  </a:lnTo>
                  <a:lnTo>
                    <a:pt x="109612" y="2942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CAF2D5BD-68B6-BFCE-C19D-E692F4E0D4A6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6190984" y="4953900"/>
              <a:ext cx="160127" cy="133709"/>
            </a:xfrm>
            <a:custGeom>
              <a:avLst/>
              <a:gdLst/>
              <a:ahLst/>
              <a:cxnLst/>
              <a:rect l="0" t="0" r="0" b="0"/>
              <a:pathLst>
                <a:path w="65461" h="54661">
                  <a:moveTo>
                    <a:pt x="42068" y="11021"/>
                  </a:moveTo>
                  <a:lnTo>
                    <a:pt x="43915" y="7315"/>
                  </a:lnTo>
                  <a:lnTo>
                    <a:pt x="49762" y="8498"/>
                  </a:lnTo>
                  <a:lnTo>
                    <a:pt x="53249" y="6909"/>
                  </a:lnTo>
                  <a:lnTo>
                    <a:pt x="63925" y="11179"/>
                  </a:lnTo>
                  <a:lnTo>
                    <a:pt x="65460" y="13098"/>
                  </a:lnTo>
                  <a:lnTo>
                    <a:pt x="63687" y="14911"/>
                  </a:lnTo>
                  <a:lnTo>
                    <a:pt x="46579" y="23239"/>
                  </a:lnTo>
                  <a:lnTo>
                    <a:pt x="47796" y="31417"/>
                  </a:lnTo>
                  <a:lnTo>
                    <a:pt x="49149" y="33574"/>
                  </a:lnTo>
                  <a:lnTo>
                    <a:pt x="45360" y="36090"/>
                  </a:lnTo>
                  <a:lnTo>
                    <a:pt x="46178" y="38521"/>
                  </a:lnTo>
                  <a:lnTo>
                    <a:pt x="48834" y="39694"/>
                  </a:lnTo>
                  <a:lnTo>
                    <a:pt x="48948" y="41926"/>
                  </a:lnTo>
                  <a:lnTo>
                    <a:pt x="35912" y="45594"/>
                  </a:lnTo>
                  <a:lnTo>
                    <a:pt x="31000" y="45258"/>
                  </a:lnTo>
                  <a:lnTo>
                    <a:pt x="28902" y="50343"/>
                  </a:lnTo>
                  <a:lnTo>
                    <a:pt x="25217" y="53940"/>
                  </a:lnTo>
                  <a:lnTo>
                    <a:pt x="24372" y="54660"/>
                  </a:lnTo>
                  <a:lnTo>
                    <a:pt x="24369" y="54657"/>
                  </a:lnTo>
                  <a:lnTo>
                    <a:pt x="16787" y="47203"/>
                  </a:lnTo>
                  <a:lnTo>
                    <a:pt x="12360" y="41473"/>
                  </a:lnTo>
                  <a:lnTo>
                    <a:pt x="9415" y="39498"/>
                  </a:lnTo>
                  <a:lnTo>
                    <a:pt x="5054" y="39333"/>
                  </a:lnTo>
                  <a:lnTo>
                    <a:pt x="5043" y="41336"/>
                  </a:lnTo>
                  <a:lnTo>
                    <a:pt x="3190" y="41226"/>
                  </a:lnTo>
                  <a:lnTo>
                    <a:pt x="850" y="36967"/>
                  </a:lnTo>
                  <a:lnTo>
                    <a:pt x="0" y="32932"/>
                  </a:lnTo>
                  <a:lnTo>
                    <a:pt x="1398" y="28459"/>
                  </a:lnTo>
                  <a:lnTo>
                    <a:pt x="4685" y="22437"/>
                  </a:lnTo>
                  <a:lnTo>
                    <a:pt x="7225" y="13052"/>
                  </a:lnTo>
                  <a:lnTo>
                    <a:pt x="8013" y="8812"/>
                  </a:lnTo>
                  <a:lnTo>
                    <a:pt x="21978" y="0"/>
                  </a:lnTo>
                  <a:lnTo>
                    <a:pt x="24331" y="1492"/>
                  </a:lnTo>
                  <a:lnTo>
                    <a:pt x="27260" y="8535"/>
                  </a:lnTo>
                  <a:lnTo>
                    <a:pt x="29555" y="10016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AC8BAFDE-1A20-E1F2-ECE5-9010E99CA248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5758529" y="4269531"/>
              <a:ext cx="850624" cy="766498"/>
            </a:xfrm>
            <a:custGeom>
              <a:avLst/>
              <a:gdLst/>
              <a:ahLst/>
              <a:cxnLst/>
              <a:rect l="0" t="0" r="0" b="0"/>
              <a:pathLst>
                <a:path w="347740" h="313349">
                  <a:moveTo>
                    <a:pt x="175226" y="8798"/>
                  </a:moveTo>
                  <a:lnTo>
                    <a:pt x="188045" y="5254"/>
                  </a:lnTo>
                  <a:lnTo>
                    <a:pt x="192277" y="6767"/>
                  </a:lnTo>
                  <a:lnTo>
                    <a:pt x="203284" y="5864"/>
                  </a:lnTo>
                  <a:lnTo>
                    <a:pt x="206570" y="9700"/>
                  </a:lnTo>
                  <a:lnTo>
                    <a:pt x="210622" y="11217"/>
                  </a:lnTo>
                  <a:lnTo>
                    <a:pt x="214909" y="10700"/>
                  </a:lnTo>
                  <a:lnTo>
                    <a:pt x="220252" y="7009"/>
                  </a:lnTo>
                  <a:lnTo>
                    <a:pt x="228068" y="9560"/>
                  </a:lnTo>
                  <a:lnTo>
                    <a:pt x="235716" y="7053"/>
                  </a:lnTo>
                  <a:lnTo>
                    <a:pt x="239594" y="10338"/>
                  </a:lnTo>
                  <a:lnTo>
                    <a:pt x="239513" y="20842"/>
                  </a:lnTo>
                  <a:lnTo>
                    <a:pt x="241019" y="22760"/>
                  </a:lnTo>
                  <a:lnTo>
                    <a:pt x="243735" y="23930"/>
                  </a:lnTo>
                  <a:lnTo>
                    <a:pt x="253421" y="22148"/>
                  </a:lnTo>
                  <a:lnTo>
                    <a:pt x="262124" y="27880"/>
                  </a:lnTo>
                  <a:lnTo>
                    <a:pt x="268038" y="25119"/>
                  </a:lnTo>
                  <a:lnTo>
                    <a:pt x="275974" y="25591"/>
                  </a:lnTo>
                  <a:lnTo>
                    <a:pt x="276643" y="36805"/>
                  </a:lnTo>
                  <a:lnTo>
                    <a:pt x="279084" y="46281"/>
                  </a:lnTo>
                  <a:lnTo>
                    <a:pt x="281226" y="49064"/>
                  </a:lnTo>
                  <a:lnTo>
                    <a:pt x="284278" y="57985"/>
                  </a:lnTo>
                  <a:lnTo>
                    <a:pt x="284285" y="65232"/>
                  </a:lnTo>
                  <a:lnTo>
                    <a:pt x="284292" y="71904"/>
                  </a:lnTo>
                  <a:lnTo>
                    <a:pt x="286754" y="80826"/>
                  </a:lnTo>
                  <a:lnTo>
                    <a:pt x="288591" y="85839"/>
                  </a:lnTo>
                  <a:lnTo>
                    <a:pt x="295028" y="95307"/>
                  </a:lnTo>
                  <a:lnTo>
                    <a:pt x="300554" y="103648"/>
                  </a:lnTo>
                  <a:lnTo>
                    <a:pt x="303929" y="106424"/>
                  </a:lnTo>
                  <a:lnTo>
                    <a:pt x="310059" y="108078"/>
                  </a:lnTo>
                  <a:lnTo>
                    <a:pt x="316489" y="109726"/>
                  </a:lnTo>
                  <a:lnTo>
                    <a:pt x="320786" y="110828"/>
                  </a:lnTo>
                  <a:lnTo>
                    <a:pt x="326315" y="114706"/>
                  </a:lnTo>
                  <a:lnTo>
                    <a:pt x="327859" y="118047"/>
                  </a:lnTo>
                  <a:lnTo>
                    <a:pt x="328182" y="122499"/>
                  </a:lnTo>
                  <a:lnTo>
                    <a:pt x="331883" y="126946"/>
                  </a:lnTo>
                  <a:lnTo>
                    <a:pt x="337102" y="127475"/>
                  </a:lnTo>
                  <a:lnTo>
                    <a:pt x="341402" y="130239"/>
                  </a:lnTo>
                  <a:lnTo>
                    <a:pt x="341419" y="133596"/>
                  </a:lnTo>
                  <a:lnTo>
                    <a:pt x="335610" y="136407"/>
                  </a:lnTo>
                  <a:lnTo>
                    <a:pt x="329196" y="144786"/>
                  </a:lnTo>
                  <a:lnTo>
                    <a:pt x="323723" y="159301"/>
                  </a:lnTo>
                  <a:lnTo>
                    <a:pt x="323433" y="164870"/>
                  </a:lnTo>
                  <a:lnTo>
                    <a:pt x="328392" y="174880"/>
                  </a:lnTo>
                  <a:lnTo>
                    <a:pt x="335805" y="179312"/>
                  </a:lnTo>
                  <a:lnTo>
                    <a:pt x="341647" y="179837"/>
                  </a:lnTo>
                  <a:lnTo>
                    <a:pt x="342683" y="180761"/>
                  </a:lnTo>
                  <a:lnTo>
                    <a:pt x="345362" y="183156"/>
                  </a:lnTo>
                  <a:lnTo>
                    <a:pt x="347532" y="188090"/>
                  </a:lnTo>
                  <a:lnTo>
                    <a:pt x="347739" y="189432"/>
                  </a:lnTo>
                  <a:lnTo>
                    <a:pt x="347729" y="189433"/>
                  </a:lnTo>
                  <a:lnTo>
                    <a:pt x="346681" y="189593"/>
                  </a:lnTo>
                  <a:lnTo>
                    <a:pt x="338536" y="193397"/>
                  </a:lnTo>
                  <a:lnTo>
                    <a:pt x="331244" y="199134"/>
                  </a:lnTo>
                  <a:lnTo>
                    <a:pt x="309267" y="221831"/>
                  </a:lnTo>
                  <a:lnTo>
                    <a:pt x="300387" y="225616"/>
                  </a:lnTo>
                  <a:lnTo>
                    <a:pt x="291217" y="222568"/>
                  </a:lnTo>
                  <a:lnTo>
                    <a:pt x="293755" y="226156"/>
                  </a:lnTo>
                  <a:lnTo>
                    <a:pt x="297462" y="227581"/>
                  </a:lnTo>
                  <a:lnTo>
                    <a:pt x="304155" y="227543"/>
                  </a:lnTo>
                  <a:lnTo>
                    <a:pt x="304155" y="227559"/>
                  </a:lnTo>
                  <a:lnTo>
                    <a:pt x="304157" y="228269"/>
                  </a:lnTo>
                  <a:lnTo>
                    <a:pt x="304707" y="229789"/>
                  </a:lnTo>
                  <a:lnTo>
                    <a:pt x="306202" y="234485"/>
                  </a:lnTo>
                  <a:lnTo>
                    <a:pt x="303449" y="237137"/>
                  </a:lnTo>
                  <a:lnTo>
                    <a:pt x="303453" y="238736"/>
                  </a:lnTo>
                  <a:lnTo>
                    <a:pt x="308522" y="242535"/>
                  </a:lnTo>
                  <a:lnTo>
                    <a:pt x="308234" y="245399"/>
                  </a:lnTo>
                  <a:lnTo>
                    <a:pt x="305001" y="247105"/>
                  </a:lnTo>
                  <a:lnTo>
                    <a:pt x="298217" y="246596"/>
                  </a:lnTo>
                  <a:lnTo>
                    <a:pt x="297228" y="247655"/>
                  </a:lnTo>
                  <a:lnTo>
                    <a:pt x="298054" y="252866"/>
                  </a:lnTo>
                  <a:lnTo>
                    <a:pt x="296299" y="254774"/>
                  </a:lnTo>
                  <a:lnTo>
                    <a:pt x="288932" y="254677"/>
                  </a:lnTo>
                  <a:lnTo>
                    <a:pt x="282931" y="261259"/>
                  </a:lnTo>
                  <a:lnTo>
                    <a:pt x="282932" y="262858"/>
                  </a:lnTo>
                  <a:lnTo>
                    <a:pt x="286171" y="265185"/>
                  </a:lnTo>
                  <a:lnTo>
                    <a:pt x="286002" y="271978"/>
                  </a:lnTo>
                  <a:lnTo>
                    <a:pt x="298632" y="273340"/>
                  </a:lnTo>
                  <a:lnTo>
                    <a:pt x="303896" y="278641"/>
                  </a:lnTo>
                  <a:lnTo>
                    <a:pt x="304565" y="287337"/>
                  </a:lnTo>
                  <a:lnTo>
                    <a:pt x="296838" y="291609"/>
                  </a:lnTo>
                  <a:lnTo>
                    <a:pt x="295594" y="293723"/>
                  </a:lnTo>
                  <a:lnTo>
                    <a:pt x="297908" y="296701"/>
                  </a:lnTo>
                  <a:lnTo>
                    <a:pt x="302528" y="297856"/>
                  </a:lnTo>
                  <a:lnTo>
                    <a:pt x="301701" y="299023"/>
                  </a:lnTo>
                  <a:lnTo>
                    <a:pt x="298036" y="300511"/>
                  </a:lnTo>
                  <a:lnTo>
                    <a:pt x="291232" y="298410"/>
                  </a:lnTo>
                  <a:lnTo>
                    <a:pt x="285802" y="299365"/>
                  </a:lnTo>
                  <a:lnTo>
                    <a:pt x="283554" y="300532"/>
                  </a:lnTo>
                  <a:lnTo>
                    <a:pt x="282202" y="307226"/>
                  </a:lnTo>
                  <a:lnTo>
                    <a:pt x="277825" y="309994"/>
                  </a:lnTo>
                  <a:lnTo>
                    <a:pt x="259610" y="307445"/>
                  </a:lnTo>
                  <a:lnTo>
                    <a:pt x="247540" y="308282"/>
                  </a:lnTo>
                  <a:lnTo>
                    <a:pt x="242938" y="304127"/>
                  </a:lnTo>
                  <a:lnTo>
                    <a:pt x="239092" y="305284"/>
                  </a:lnTo>
                  <a:lnTo>
                    <a:pt x="237723" y="309645"/>
                  </a:lnTo>
                  <a:lnTo>
                    <a:pt x="235713" y="310905"/>
                  </a:lnTo>
                  <a:lnTo>
                    <a:pt x="225939" y="313348"/>
                  </a:lnTo>
                  <a:lnTo>
                    <a:pt x="224586" y="311191"/>
                  </a:lnTo>
                  <a:lnTo>
                    <a:pt x="223369" y="303013"/>
                  </a:lnTo>
                  <a:lnTo>
                    <a:pt x="240477" y="294685"/>
                  </a:lnTo>
                  <a:lnTo>
                    <a:pt x="242250" y="292872"/>
                  </a:lnTo>
                  <a:lnTo>
                    <a:pt x="240715" y="290953"/>
                  </a:lnTo>
                  <a:lnTo>
                    <a:pt x="230039" y="286683"/>
                  </a:lnTo>
                  <a:lnTo>
                    <a:pt x="226552" y="288272"/>
                  </a:lnTo>
                  <a:lnTo>
                    <a:pt x="220705" y="287089"/>
                  </a:lnTo>
                  <a:lnTo>
                    <a:pt x="218858" y="290795"/>
                  </a:lnTo>
                  <a:lnTo>
                    <a:pt x="206345" y="289790"/>
                  </a:lnTo>
                  <a:lnTo>
                    <a:pt x="204050" y="288309"/>
                  </a:lnTo>
                  <a:lnTo>
                    <a:pt x="201121" y="281266"/>
                  </a:lnTo>
                  <a:lnTo>
                    <a:pt x="198768" y="279774"/>
                  </a:lnTo>
                  <a:lnTo>
                    <a:pt x="184803" y="288586"/>
                  </a:lnTo>
                  <a:lnTo>
                    <a:pt x="184076" y="289055"/>
                  </a:lnTo>
                  <a:lnTo>
                    <a:pt x="182378" y="287120"/>
                  </a:lnTo>
                  <a:lnTo>
                    <a:pt x="181951" y="279683"/>
                  </a:lnTo>
                  <a:lnTo>
                    <a:pt x="180951" y="278730"/>
                  </a:lnTo>
                  <a:lnTo>
                    <a:pt x="173441" y="280381"/>
                  </a:lnTo>
                  <a:lnTo>
                    <a:pt x="167422" y="272698"/>
                  </a:lnTo>
                  <a:lnTo>
                    <a:pt x="155607" y="266136"/>
                  </a:lnTo>
                  <a:lnTo>
                    <a:pt x="148474" y="259069"/>
                  </a:lnTo>
                  <a:lnTo>
                    <a:pt x="138234" y="257609"/>
                  </a:lnTo>
                  <a:lnTo>
                    <a:pt x="134738" y="252592"/>
                  </a:lnTo>
                  <a:lnTo>
                    <a:pt x="133321" y="252993"/>
                  </a:lnTo>
                  <a:lnTo>
                    <a:pt x="131809" y="256909"/>
                  </a:lnTo>
                  <a:lnTo>
                    <a:pt x="130218" y="257111"/>
                  </a:lnTo>
                  <a:lnTo>
                    <a:pt x="126705" y="255280"/>
                  </a:lnTo>
                  <a:lnTo>
                    <a:pt x="122280" y="249391"/>
                  </a:lnTo>
                  <a:lnTo>
                    <a:pt x="111644" y="246834"/>
                  </a:lnTo>
                  <a:lnTo>
                    <a:pt x="101407" y="235682"/>
                  </a:lnTo>
                  <a:lnTo>
                    <a:pt x="102021" y="228363"/>
                  </a:lnTo>
                  <a:lnTo>
                    <a:pt x="99527" y="225471"/>
                  </a:lnTo>
                  <a:lnTo>
                    <a:pt x="99483" y="219428"/>
                  </a:lnTo>
                  <a:lnTo>
                    <a:pt x="98411" y="218903"/>
                  </a:lnTo>
                  <a:lnTo>
                    <a:pt x="99665" y="218769"/>
                  </a:lnTo>
                  <a:lnTo>
                    <a:pt x="100635" y="216223"/>
                  </a:lnTo>
                  <a:lnTo>
                    <a:pt x="105706" y="216517"/>
                  </a:lnTo>
                  <a:lnTo>
                    <a:pt x="107307" y="214640"/>
                  </a:lnTo>
                  <a:lnTo>
                    <a:pt x="107367" y="214640"/>
                  </a:lnTo>
                  <a:lnTo>
                    <a:pt x="108675" y="211989"/>
                  </a:lnTo>
                  <a:lnTo>
                    <a:pt x="108832" y="186833"/>
                  </a:lnTo>
                  <a:lnTo>
                    <a:pt x="117025" y="188618"/>
                  </a:lnTo>
                  <a:lnTo>
                    <a:pt x="121693" y="184639"/>
                  </a:lnTo>
                  <a:lnTo>
                    <a:pt x="128231" y="182788"/>
                  </a:lnTo>
                  <a:lnTo>
                    <a:pt x="122787" y="169780"/>
                  </a:lnTo>
                  <a:lnTo>
                    <a:pt x="117961" y="165921"/>
                  </a:lnTo>
                  <a:lnTo>
                    <a:pt x="117752" y="166086"/>
                  </a:lnTo>
                  <a:lnTo>
                    <a:pt x="115889" y="165544"/>
                  </a:lnTo>
                  <a:lnTo>
                    <a:pt x="111451" y="166878"/>
                  </a:lnTo>
                  <a:lnTo>
                    <a:pt x="98981" y="173610"/>
                  </a:lnTo>
                  <a:lnTo>
                    <a:pt x="88309" y="177372"/>
                  </a:lnTo>
                  <a:lnTo>
                    <a:pt x="87179" y="175265"/>
                  </a:lnTo>
                  <a:lnTo>
                    <a:pt x="87152" y="175285"/>
                  </a:lnTo>
                  <a:lnTo>
                    <a:pt x="80531" y="157409"/>
                  </a:lnTo>
                  <a:lnTo>
                    <a:pt x="74483" y="154467"/>
                  </a:lnTo>
                  <a:lnTo>
                    <a:pt x="66211" y="159983"/>
                  </a:lnTo>
                  <a:lnTo>
                    <a:pt x="49264" y="165149"/>
                  </a:lnTo>
                  <a:lnTo>
                    <a:pt x="46741" y="165545"/>
                  </a:lnTo>
                  <a:lnTo>
                    <a:pt x="43104" y="162190"/>
                  </a:lnTo>
                  <a:lnTo>
                    <a:pt x="40413" y="162248"/>
                  </a:lnTo>
                  <a:lnTo>
                    <a:pt x="38624" y="164036"/>
                  </a:lnTo>
                  <a:lnTo>
                    <a:pt x="38632" y="167335"/>
                  </a:lnTo>
                  <a:lnTo>
                    <a:pt x="36729" y="169101"/>
                  </a:lnTo>
                  <a:lnTo>
                    <a:pt x="29166" y="169295"/>
                  </a:lnTo>
                  <a:lnTo>
                    <a:pt x="21786" y="172155"/>
                  </a:lnTo>
                  <a:lnTo>
                    <a:pt x="13440" y="179910"/>
                  </a:lnTo>
                  <a:lnTo>
                    <a:pt x="13407" y="179890"/>
                  </a:lnTo>
                  <a:lnTo>
                    <a:pt x="8269" y="178062"/>
                  </a:lnTo>
                  <a:lnTo>
                    <a:pt x="5795" y="175263"/>
                  </a:lnTo>
                  <a:lnTo>
                    <a:pt x="5736" y="172171"/>
                  </a:lnTo>
                  <a:lnTo>
                    <a:pt x="11662" y="161750"/>
                  </a:lnTo>
                  <a:lnTo>
                    <a:pt x="11599" y="158827"/>
                  </a:lnTo>
                  <a:lnTo>
                    <a:pt x="10934" y="157966"/>
                  </a:lnTo>
                  <a:lnTo>
                    <a:pt x="9309" y="155904"/>
                  </a:lnTo>
                  <a:lnTo>
                    <a:pt x="3651" y="154418"/>
                  </a:lnTo>
                  <a:lnTo>
                    <a:pt x="2288" y="152163"/>
                  </a:lnTo>
                  <a:lnTo>
                    <a:pt x="2477" y="151376"/>
                  </a:lnTo>
                  <a:lnTo>
                    <a:pt x="2666" y="150579"/>
                  </a:lnTo>
                  <a:lnTo>
                    <a:pt x="23375" y="140862"/>
                  </a:lnTo>
                  <a:lnTo>
                    <a:pt x="27591" y="143479"/>
                  </a:lnTo>
                  <a:lnTo>
                    <a:pt x="29858" y="144898"/>
                  </a:lnTo>
                  <a:lnTo>
                    <a:pt x="31120" y="142589"/>
                  </a:lnTo>
                  <a:lnTo>
                    <a:pt x="25984" y="132867"/>
                  </a:lnTo>
                  <a:lnTo>
                    <a:pt x="23530" y="128225"/>
                  </a:lnTo>
                  <a:lnTo>
                    <a:pt x="22383" y="127900"/>
                  </a:lnTo>
                  <a:lnTo>
                    <a:pt x="16731" y="126312"/>
                  </a:lnTo>
                  <a:lnTo>
                    <a:pt x="16695" y="121848"/>
                  </a:lnTo>
                  <a:lnTo>
                    <a:pt x="19075" y="118986"/>
                  </a:lnTo>
                  <a:lnTo>
                    <a:pt x="18535" y="113171"/>
                  </a:lnTo>
                  <a:lnTo>
                    <a:pt x="15815" y="111959"/>
                  </a:lnTo>
                  <a:lnTo>
                    <a:pt x="7696" y="115628"/>
                  </a:lnTo>
                  <a:lnTo>
                    <a:pt x="0" y="114816"/>
                  </a:lnTo>
                  <a:lnTo>
                    <a:pt x="99" y="106583"/>
                  </a:lnTo>
                  <a:lnTo>
                    <a:pt x="1431" y="103843"/>
                  </a:lnTo>
                  <a:lnTo>
                    <a:pt x="13541" y="102046"/>
                  </a:lnTo>
                  <a:lnTo>
                    <a:pt x="26006" y="95783"/>
                  </a:lnTo>
                  <a:lnTo>
                    <a:pt x="23725" y="89601"/>
                  </a:lnTo>
                  <a:lnTo>
                    <a:pt x="24587" y="86734"/>
                  </a:lnTo>
                  <a:lnTo>
                    <a:pt x="28918" y="82461"/>
                  </a:lnTo>
                  <a:lnTo>
                    <a:pt x="28103" y="71943"/>
                  </a:lnTo>
                  <a:lnTo>
                    <a:pt x="33732" y="68736"/>
                  </a:lnTo>
                  <a:lnTo>
                    <a:pt x="35342" y="63253"/>
                  </a:lnTo>
                  <a:lnTo>
                    <a:pt x="41837" y="53582"/>
                  </a:lnTo>
                  <a:lnTo>
                    <a:pt x="46012" y="54180"/>
                  </a:lnTo>
                  <a:lnTo>
                    <a:pt x="50042" y="60501"/>
                  </a:lnTo>
                  <a:lnTo>
                    <a:pt x="55732" y="63409"/>
                  </a:lnTo>
                  <a:lnTo>
                    <a:pt x="57934" y="63441"/>
                  </a:lnTo>
                  <a:lnTo>
                    <a:pt x="67142" y="50382"/>
                  </a:lnTo>
                  <a:lnTo>
                    <a:pt x="69777" y="47911"/>
                  </a:lnTo>
                  <a:lnTo>
                    <a:pt x="70401" y="46922"/>
                  </a:lnTo>
                  <a:lnTo>
                    <a:pt x="72818" y="45227"/>
                  </a:lnTo>
                  <a:lnTo>
                    <a:pt x="79889" y="46270"/>
                  </a:lnTo>
                  <a:lnTo>
                    <a:pt x="86204" y="38392"/>
                  </a:lnTo>
                  <a:lnTo>
                    <a:pt x="96695" y="35441"/>
                  </a:lnTo>
                  <a:lnTo>
                    <a:pt x="107617" y="29308"/>
                  </a:lnTo>
                  <a:lnTo>
                    <a:pt x="108916" y="27091"/>
                  </a:lnTo>
                  <a:lnTo>
                    <a:pt x="107487" y="20283"/>
                  </a:lnTo>
                  <a:lnTo>
                    <a:pt x="112644" y="14830"/>
                  </a:lnTo>
                  <a:lnTo>
                    <a:pt x="115490" y="14426"/>
                  </a:lnTo>
                  <a:lnTo>
                    <a:pt x="129009" y="19658"/>
                  </a:lnTo>
                  <a:lnTo>
                    <a:pt x="142829" y="17032"/>
                  </a:lnTo>
                  <a:lnTo>
                    <a:pt x="154691" y="19786"/>
                  </a:lnTo>
                  <a:lnTo>
                    <a:pt x="156786" y="18203"/>
                  </a:lnTo>
                  <a:lnTo>
                    <a:pt x="158151" y="6978"/>
                  </a:lnTo>
                  <a:lnTo>
                    <a:pt x="160337" y="1566"/>
                  </a:lnTo>
                  <a:lnTo>
                    <a:pt x="162256" y="0"/>
                  </a:lnTo>
                  <a:lnTo>
                    <a:pt x="171010" y="7487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29A788FD-567E-952C-652D-577BFCA54D17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6433603" y="4234620"/>
              <a:ext cx="491789" cy="483129"/>
            </a:xfrm>
            <a:custGeom>
              <a:avLst/>
              <a:gdLst/>
              <a:ahLst/>
              <a:cxnLst/>
              <a:rect l="0" t="0" r="0" b="0"/>
              <a:pathLst>
                <a:path w="201046" h="197506">
                  <a:moveTo>
                    <a:pt x="122473" y="9736"/>
                  </a:moveTo>
                  <a:lnTo>
                    <a:pt x="132552" y="9643"/>
                  </a:lnTo>
                  <a:lnTo>
                    <a:pt x="136051" y="12798"/>
                  </a:lnTo>
                  <a:lnTo>
                    <a:pt x="139534" y="19555"/>
                  </a:lnTo>
                  <a:lnTo>
                    <a:pt x="147885" y="25521"/>
                  </a:lnTo>
                  <a:lnTo>
                    <a:pt x="150232" y="33137"/>
                  </a:lnTo>
                  <a:lnTo>
                    <a:pt x="154661" y="36061"/>
                  </a:lnTo>
                  <a:lnTo>
                    <a:pt x="154313" y="40636"/>
                  </a:lnTo>
                  <a:lnTo>
                    <a:pt x="150862" y="48314"/>
                  </a:lnTo>
                  <a:lnTo>
                    <a:pt x="152208" y="55300"/>
                  </a:lnTo>
                  <a:lnTo>
                    <a:pt x="151864" y="60407"/>
                  </a:lnTo>
                  <a:lnTo>
                    <a:pt x="162327" y="75771"/>
                  </a:lnTo>
                  <a:lnTo>
                    <a:pt x="167593" y="79105"/>
                  </a:lnTo>
                  <a:lnTo>
                    <a:pt x="180068" y="80649"/>
                  </a:lnTo>
                  <a:lnTo>
                    <a:pt x="188758" y="91051"/>
                  </a:lnTo>
                  <a:lnTo>
                    <a:pt x="194674" y="90447"/>
                  </a:lnTo>
                  <a:lnTo>
                    <a:pt x="198871" y="90389"/>
                  </a:lnTo>
                  <a:lnTo>
                    <a:pt x="201045" y="92299"/>
                  </a:lnTo>
                  <a:lnTo>
                    <a:pt x="201043" y="92304"/>
                  </a:lnTo>
                  <a:lnTo>
                    <a:pt x="200067" y="94433"/>
                  </a:lnTo>
                  <a:lnTo>
                    <a:pt x="198018" y="111222"/>
                  </a:lnTo>
                  <a:lnTo>
                    <a:pt x="195547" y="115921"/>
                  </a:lnTo>
                  <a:lnTo>
                    <a:pt x="192730" y="119816"/>
                  </a:lnTo>
                  <a:lnTo>
                    <a:pt x="190697" y="125502"/>
                  </a:lnTo>
                  <a:lnTo>
                    <a:pt x="190720" y="128487"/>
                  </a:lnTo>
                  <a:lnTo>
                    <a:pt x="192108" y="133693"/>
                  </a:lnTo>
                  <a:lnTo>
                    <a:pt x="192276" y="135930"/>
                  </a:lnTo>
                  <a:lnTo>
                    <a:pt x="191140" y="138604"/>
                  </a:lnTo>
                  <a:lnTo>
                    <a:pt x="187440" y="142758"/>
                  </a:lnTo>
                  <a:lnTo>
                    <a:pt x="185320" y="149410"/>
                  </a:lnTo>
                  <a:lnTo>
                    <a:pt x="182120" y="153556"/>
                  </a:lnTo>
                  <a:lnTo>
                    <a:pt x="162555" y="168068"/>
                  </a:lnTo>
                  <a:lnTo>
                    <a:pt x="159029" y="176147"/>
                  </a:lnTo>
                  <a:lnTo>
                    <a:pt x="154758" y="179303"/>
                  </a:lnTo>
                  <a:lnTo>
                    <a:pt x="146702" y="183433"/>
                  </a:lnTo>
                  <a:lnTo>
                    <a:pt x="144844" y="186375"/>
                  </a:lnTo>
                  <a:lnTo>
                    <a:pt x="140956" y="196520"/>
                  </a:lnTo>
                  <a:lnTo>
                    <a:pt x="138929" y="197505"/>
                  </a:lnTo>
                  <a:lnTo>
                    <a:pt x="137426" y="196555"/>
                  </a:lnTo>
                  <a:lnTo>
                    <a:pt x="135735" y="195017"/>
                  </a:lnTo>
                  <a:lnTo>
                    <a:pt x="133091" y="194234"/>
                  </a:lnTo>
                  <a:lnTo>
                    <a:pt x="121599" y="196033"/>
                  </a:lnTo>
                  <a:lnTo>
                    <a:pt x="121596" y="196033"/>
                  </a:lnTo>
                  <a:lnTo>
                    <a:pt x="120989" y="193854"/>
                  </a:lnTo>
                  <a:lnTo>
                    <a:pt x="118864" y="187632"/>
                  </a:lnTo>
                  <a:lnTo>
                    <a:pt x="118515" y="182609"/>
                  </a:lnTo>
                  <a:lnTo>
                    <a:pt x="116025" y="178731"/>
                  </a:lnTo>
                  <a:lnTo>
                    <a:pt x="108024" y="178233"/>
                  </a:lnTo>
                  <a:lnTo>
                    <a:pt x="98496" y="178867"/>
                  </a:lnTo>
                  <a:lnTo>
                    <a:pt x="89907" y="181709"/>
                  </a:lnTo>
                  <a:lnTo>
                    <a:pt x="76699" y="183467"/>
                  </a:lnTo>
                  <a:lnTo>
                    <a:pt x="69940" y="185163"/>
                  </a:lnTo>
                  <a:lnTo>
                    <a:pt x="67502" y="190191"/>
                  </a:lnTo>
                  <a:lnTo>
                    <a:pt x="66709" y="195033"/>
                  </a:lnTo>
                  <a:lnTo>
                    <a:pt x="65673" y="194109"/>
                  </a:lnTo>
                  <a:lnTo>
                    <a:pt x="59831" y="193584"/>
                  </a:lnTo>
                  <a:lnTo>
                    <a:pt x="52418" y="189152"/>
                  </a:lnTo>
                  <a:lnTo>
                    <a:pt x="47459" y="179142"/>
                  </a:lnTo>
                  <a:lnTo>
                    <a:pt x="47749" y="173573"/>
                  </a:lnTo>
                  <a:lnTo>
                    <a:pt x="53222" y="159058"/>
                  </a:lnTo>
                  <a:lnTo>
                    <a:pt x="59636" y="150679"/>
                  </a:lnTo>
                  <a:lnTo>
                    <a:pt x="65445" y="147868"/>
                  </a:lnTo>
                  <a:lnTo>
                    <a:pt x="65428" y="144511"/>
                  </a:lnTo>
                  <a:lnTo>
                    <a:pt x="61128" y="141747"/>
                  </a:lnTo>
                  <a:lnTo>
                    <a:pt x="55909" y="141218"/>
                  </a:lnTo>
                  <a:lnTo>
                    <a:pt x="52208" y="136771"/>
                  </a:lnTo>
                  <a:lnTo>
                    <a:pt x="51885" y="132319"/>
                  </a:lnTo>
                  <a:lnTo>
                    <a:pt x="50341" y="128978"/>
                  </a:lnTo>
                  <a:lnTo>
                    <a:pt x="44812" y="125100"/>
                  </a:lnTo>
                  <a:lnTo>
                    <a:pt x="40515" y="123998"/>
                  </a:lnTo>
                  <a:lnTo>
                    <a:pt x="34085" y="122350"/>
                  </a:lnTo>
                  <a:lnTo>
                    <a:pt x="27955" y="120696"/>
                  </a:lnTo>
                  <a:lnTo>
                    <a:pt x="24580" y="117920"/>
                  </a:lnTo>
                  <a:lnTo>
                    <a:pt x="19054" y="109579"/>
                  </a:lnTo>
                  <a:lnTo>
                    <a:pt x="12617" y="100111"/>
                  </a:lnTo>
                  <a:lnTo>
                    <a:pt x="10780" y="95098"/>
                  </a:lnTo>
                  <a:lnTo>
                    <a:pt x="8318" y="86176"/>
                  </a:lnTo>
                  <a:lnTo>
                    <a:pt x="8311" y="79504"/>
                  </a:lnTo>
                  <a:lnTo>
                    <a:pt x="8304" y="72257"/>
                  </a:lnTo>
                  <a:lnTo>
                    <a:pt x="5252" y="63336"/>
                  </a:lnTo>
                  <a:lnTo>
                    <a:pt x="3110" y="60553"/>
                  </a:lnTo>
                  <a:lnTo>
                    <a:pt x="669" y="51077"/>
                  </a:lnTo>
                  <a:lnTo>
                    <a:pt x="0" y="39863"/>
                  </a:lnTo>
                  <a:lnTo>
                    <a:pt x="4943" y="40136"/>
                  </a:lnTo>
                  <a:lnTo>
                    <a:pt x="10451" y="35136"/>
                  </a:lnTo>
                  <a:lnTo>
                    <a:pt x="21227" y="32573"/>
                  </a:lnTo>
                  <a:lnTo>
                    <a:pt x="22549" y="30240"/>
                  </a:lnTo>
                  <a:lnTo>
                    <a:pt x="23234" y="22382"/>
                  </a:lnTo>
                  <a:lnTo>
                    <a:pt x="25091" y="21212"/>
                  </a:lnTo>
                  <a:lnTo>
                    <a:pt x="41104" y="29234"/>
                  </a:lnTo>
                  <a:lnTo>
                    <a:pt x="49103" y="30163"/>
                  </a:lnTo>
                  <a:lnTo>
                    <a:pt x="57239" y="36291"/>
                  </a:lnTo>
                  <a:lnTo>
                    <a:pt x="59956" y="33613"/>
                  </a:lnTo>
                  <a:lnTo>
                    <a:pt x="64034" y="15241"/>
                  </a:lnTo>
                  <a:lnTo>
                    <a:pt x="65938" y="11412"/>
                  </a:lnTo>
                  <a:lnTo>
                    <a:pt x="69910" y="8094"/>
                  </a:lnTo>
                  <a:lnTo>
                    <a:pt x="76779" y="5193"/>
                  </a:lnTo>
                  <a:lnTo>
                    <a:pt x="97268" y="5704"/>
                  </a:lnTo>
                  <a:lnTo>
                    <a:pt x="104459" y="763"/>
                  </a:lnTo>
                  <a:lnTo>
                    <a:pt x="108789" y="0"/>
                  </a:lnTo>
                  <a:lnTo>
                    <a:pt x="117509" y="4162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FF53E821-795C-F59B-E1B7-70BB06050346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6596783" y="4670604"/>
              <a:ext cx="134264" cy="62308"/>
            </a:xfrm>
            <a:custGeom>
              <a:avLst/>
              <a:gdLst/>
              <a:ahLst/>
              <a:cxnLst/>
              <a:rect l="0" t="0" r="0" b="0"/>
              <a:pathLst>
                <a:path w="54888" h="25472">
                  <a:moveTo>
                    <a:pt x="54887" y="17800"/>
                  </a:moveTo>
                  <a:lnTo>
                    <a:pt x="5056" y="25471"/>
                  </a:lnTo>
                  <a:lnTo>
                    <a:pt x="4849" y="24129"/>
                  </a:lnTo>
                  <a:lnTo>
                    <a:pt x="2679" y="19195"/>
                  </a:lnTo>
                  <a:lnTo>
                    <a:pt x="0" y="16800"/>
                  </a:lnTo>
                  <a:lnTo>
                    <a:pt x="793" y="11958"/>
                  </a:lnTo>
                  <a:lnTo>
                    <a:pt x="3231" y="6930"/>
                  </a:lnTo>
                  <a:lnTo>
                    <a:pt x="9990" y="5234"/>
                  </a:lnTo>
                  <a:lnTo>
                    <a:pt x="23198" y="3476"/>
                  </a:lnTo>
                  <a:lnTo>
                    <a:pt x="31787" y="634"/>
                  </a:lnTo>
                  <a:lnTo>
                    <a:pt x="41315" y="0"/>
                  </a:lnTo>
                  <a:lnTo>
                    <a:pt x="49316" y="498"/>
                  </a:lnTo>
                  <a:lnTo>
                    <a:pt x="51806" y="4376"/>
                  </a:lnTo>
                  <a:lnTo>
                    <a:pt x="52155" y="9399"/>
                  </a:lnTo>
                  <a:lnTo>
                    <a:pt x="54280" y="15621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5B74D351-84E9-91FB-C6B7-DCA7BF76F7B8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6250601" y="4726861"/>
              <a:ext cx="607883" cy="407291"/>
            </a:xfrm>
            <a:custGeom>
              <a:avLst/>
              <a:gdLst/>
              <a:ahLst/>
              <a:cxnLst/>
              <a:rect l="0" t="0" r="0" b="0"/>
              <a:pathLst>
                <a:path w="248506" h="166503">
                  <a:moveTo>
                    <a:pt x="0" y="147475"/>
                  </a:moveTo>
                  <a:lnTo>
                    <a:pt x="845" y="146755"/>
                  </a:lnTo>
                  <a:lnTo>
                    <a:pt x="4530" y="143158"/>
                  </a:lnTo>
                  <a:lnTo>
                    <a:pt x="6628" y="138073"/>
                  </a:lnTo>
                  <a:lnTo>
                    <a:pt x="11540" y="138409"/>
                  </a:lnTo>
                  <a:lnTo>
                    <a:pt x="24576" y="134741"/>
                  </a:lnTo>
                  <a:lnTo>
                    <a:pt x="24462" y="132509"/>
                  </a:lnTo>
                  <a:lnTo>
                    <a:pt x="21806" y="131336"/>
                  </a:lnTo>
                  <a:lnTo>
                    <a:pt x="20988" y="128905"/>
                  </a:lnTo>
                  <a:lnTo>
                    <a:pt x="24777" y="126389"/>
                  </a:lnTo>
                  <a:lnTo>
                    <a:pt x="34551" y="123946"/>
                  </a:lnTo>
                  <a:lnTo>
                    <a:pt x="36561" y="122686"/>
                  </a:lnTo>
                  <a:lnTo>
                    <a:pt x="37930" y="118325"/>
                  </a:lnTo>
                  <a:lnTo>
                    <a:pt x="41776" y="117168"/>
                  </a:lnTo>
                  <a:lnTo>
                    <a:pt x="46378" y="121323"/>
                  </a:lnTo>
                  <a:lnTo>
                    <a:pt x="58448" y="120486"/>
                  </a:lnTo>
                  <a:lnTo>
                    <a:pt x="76663" y="123035"/>
                  </a:lnTo>
                  <a:lnTo>
                    <a:pt x="81040" y="120267"/>
                  </a:lnTo>
                  <a:lnTo>
                    <a:pt x="82392" y="113573"/>
                  </a:lnTo>
                  <a:lnTo>
                    <a:pt x="84640" y="112406"/>
                  </a:lnTo>
                  <a:lnTo>
                    <a:pt x="90070" y="111451"/>
                  </a:lnTo>
                  <a:lnTo>
                    <a:pt x="96874" y="113552"/>
                  </a:lnTo>
                  <a:lnTo>
                    <a:pt x="100539" y="112064"/>
                  </a:lnTo>
                  <a:lnTo>
                    <a:pt x="101366" y="110897"/>
                  </a:lnTo>
                  <a:lnTo>
                    <a:pt x="96746" y="109742"/>
                  </a:lnTo>
                  <a:lnTo>
                    <a:pt x="94432" y="106764"/>
                  </a:lnTo>
                  <a:lnTo>
                    <a:pt x="95676" y="104650"/>
                  </a:lnTo>
                  <a:lnTo>
                    <a:pt x="103403" y="100378"/>
                  </a:lnTo>
                  <a:lnTo>
                    <a:pt x="102734" y="91682"/>
                  </a:lnTo>
                  <a:lnTo>
                    <a:pt x="97470" y="86381"/>
                  </a:lnTo>
                  <a:lnTo>
                    <a:pt x="84840" y="85019"/>
                  </a:lnTo>
                  <a:lnTo>
                    <a:pt x="85009" y="78226"/>
                  </a:lnTo>
                  <a:lnTo>
                    <a:pt x="81770" y="75899"/>
                  </a:lnTo>
                  <a:lnTo>
                    <a:pt x="81769" y="74300"/>
                  </a:lnTo>
                  <a:lnTo>
                    <a:pt x="87770" y="67718"/>
                  </a:lnTo>
                  <a:lnTo>
                    <a:pt x="95137" y="67815"/>
                  </a:lnTo>
                  <a:lnTo>
                    <a:pt x="96892" y="65907"/>
                  </a:lnTo>
                  <a:lnTo>
                    <a:pt x="96066" y="60696"/>
                  </a:lnTo>
                  <a:lnTo>
                    <a:pt x="97055" y="59637"/>
                  </a:lnTo>
                  <a:lnTo>
                    <a:pt x="103839" y="60146"/>
                  </a:lnTo>
                  <a:lnTo>
                    <a:pt x="107072" y="58440"/>
                  </a:lnTo>
                  <a:lnTo>
                    <a:pt x="107360" y="55576"/>
                  </a:lnTo>
                  <a:lnTo>
                    <a:pt x="102291" y="51777"/>
                  </a:lnTo>
                  <a:lnTo>
                    <a:pt x="102287" y="50178"/>
                  </a:lnTo>
                  <a:lnTo>
                    <a:pt x="105040" y="47526"/>
                  </a:lnTo>
                  <a:lnTo>
                    <a:pt x="103545" y="42830"/>
                  </a:lnTo>
                  <a:lnTo>
                    <a:pt x="102995" y="41310"/>
                  </a:lnTo>
                  <a:lnTo>
                    <a:pt x="102993" y="40600"/>
                  </a:lnTo>
                  <a:lnTo>
                    <a:pt x="102993" y="40584"/>
                  </a:lnTo>
                  <a:lnTo>
                    <a:pt x="105294" y="40570"/>
                  </a:lnTo>
                  <a:lnTo>
                    <a:pt x="109719" y="39345"/>
                  </a:lnTo>
                  <a:lnTo>
                    <a:pt x="118643" y="33907"/>
                  </a:lnTo>
                  <a:lnTo>
                    <a:pt x="126851" y="31825"/>
                  </a:lnTo>
                  <a:lnTo>
                    <a:pt x="168876" y="10082"/>
                  </a:lnTo>
                  <a:lnTo>
                    <a:pt x="171042" y="7516"/>
                  </a:lnTo>
                  <a:lnTo>
                    <a:pt x="172976" y="3864"/>
                  </a:lnTo>
                  <a:lnTo>
                    <a:pt x="177509" y="909"/>
                  </a:lnTo>
                  <a:lnTo>
                    <a:pt x="182589" y="0"/>
                  </a:lnTo>
                  <a:lnTo>
                    <a:pt x="186216" y="2319"/>
                  </a:lnTo>
                  <a:lnTo>
                    <a:pt x="190011" y="6035"/>
                  </a:lnTo>
                  <a:lnTo>
                    <a:pt x="197477" y="6594"/>
                  </a:lnTo>
                  <a:lnTo>
                    <a:pt x="200047" y="11329"/>
                  </a:lnTo>
                  <a:lnTo>
                    <a:pt x="200517" y="18601"/>
                  </a:lnTo>
                  <a:lnTo>
                    <a:pt x="199021" y="25439"/>
                  </a:lnTo>
                  <a:lnTo>
                    <a:pt x="196247" y="31154"/>
                  </a:lnTo>
                  <a:lnTo>
                    <a:pt x="192905" y="35101"/>
                  </a:lnTo>
                  <a:lnTo>
                    <a:pt x="198107" y="35056"/>
                  </a:lnTo>
                  <a:lnTo>
                    <a:pt x="198919" y="36215"/>
                  </a:lnTo>
                  <a:lnTo>
                    <a:pt x="199905" y="41462"/>
                  </a:lnTo>
                  <a:lnTo>
                    <a:pt x="200331" y="42872"/>
                  </a:lnTo>
                  <a:lnTo>
                    <a:pt x="202737" y="43970"/>
                  </a:lnTo>
                  <a:lnTo>
                    <a:pt x="204619" y="44280"/>
                  </a:lnTo>
                  <a:lnTo>
                    <a:pt x="206186" y="45104"/>
                  </a:lnTo>
                  <a:lnTo>
                    <a:pt x="207617" y="47796"/>
                  </a:lnTo>
                  <a:lnTo>
                    <a:pt x="227010" y="49094"/>
                  </a:lnTo>
                  <a:lnTo>
                    <a:pt x="231674" y="51438"/>
                  </a:lnTo>
                  <a:lnTo>
                    <a:pt x="238970" y="58135"/>
                  </a:lnTo>
                  <a:lnTo>
                    <a:pt x="240680" y="59079"/>
                  </a:lnTo>
                  <a:lnTo>
                    <a:pt x="248477" y="65859"/>
                  </a:lnTo>
                  <a:lnTo>
                    <a:pt x="248505" y="68205"/>
                  </a:lnTo>
                  <a:lnTo>
                    <a:pt x="237326" y="79518"/>
                  </a:lnTo>
                  <a:lnTo>
                    <a:pt x="233541" y="87132"/>
                  </a:lnTo>
                  <a:lnTo>
                    <a:pt x="228537" y="89597"/>
                  </a:lnTo>
                  <a:lnTo>
                    <a:pt x="218326" y="92037"/>
                  </a:lnTo>
                  <a:lnTo>
                    <a:pt x="204942" y="101463"/>
                  </a:lnTo>
                  <a:lnTo>
                    <a:pt x="200162" y="102875"/>
                  </a:lnTo>
                  <a:lnTo>
                    <a:pt x="194928" y="102018"/>
                  </a:lnTo>
                  <a:lnTo>
                    <a:pt x="181827" y="95190"/>
                  </a:lnTo>
                  <a:lnTo>
                    <a:pt x="171630" y="95062"/>
                  </a:lnTo>
                  <a:lnTo>
                    <a:pt x="166478" y="96543"/>
                  </a:lnTo>
                  <a:lnTo>
                    <a:pt x="164299" y="99356"/>
                  </a:lnTo>
                  <a:lnTo>
                    <a:pt x="162678" y="102880"/>
                  </a:lnTo>
                  <a:lnTo>
                    <a:pt x="151423" y="111048"/>
                  </a:lnTo>
                  <a:lnTo>
                    <a:pt x="139681" y="124728"/>
                  </a:lnTo>
                  <a:lnTo>
                    <a:pt x="136181" y="126797"/>
                  </a:lnTo>
                  <a:lnTo>
                    <a:pt x="131924" y="128355"/>
                  </a:lnTo>
                  <a:lnTo>
                    <a:pt x="129653" y="132438"/>
                  </a:lnTo>
                  <a:lnTo>
                    <a:pt x="126730" y="145324"/>
                  </a:lnTo>
                  <a:lnTo>
                    <a:pt x="124338" y="150930"/>
                  </a:lnTo>
                  <a:lnTo>
                    <a:pt x="121187" y="153150"/>
                  </a:lnTo>
                  <a:lnTo>
                    <a:pt x="106239" y="154003"/>
                  </a:lnTo>
                  <a:lnTo>
                    <a:pt x="101988" y="155942"/>
                  </a:lnTo>
                  <a:lnTo>
                    <a:pt x="94599" y="161071"/>
                  </a:lnTo>
                  <a:lnTo>
                    <a:pt x="86143" y="165048"/>
                  </a:lnTo>
                  <a:lnTo>
                    <a:pt x="77786" y="166502"/>
                  </a:lnTo>
                  <a:lnTo>
                    <a:pt x="69426" y="165930"/>
                  </a:lnTo>
                  <a:lnTo>
                    <a:pt x="34936" y="155630"/>
                  </a:lnTo>
                  <a:lnTo>
                    <a:pt x="15962" y="155917"/>
                  </a:lnTo>
                  <a:lnTo>
                    <a:pt x="7750" y="153119"/>
                  </a:lnTo>
                  <a:lnTo>
                    <a:pt x="221" y="147690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3E039464-6478-8D16-1695-BE6A007346AE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6608742" y="5093954"/>
              <a:ext cx="366719" cy="227382"/>
            </a:xfrm>
            <a:custGeom>
              <a:avLst/>
              <a:gdLst/>
              <a:ahLst/>
              <a:cxnLst/>
              <a:rect l="0" t="0" r="0" b="0"/>
              <a:pathLst>
                <a:path w="149917" h="92955">
                  <a:moveTo>
                    <a:pt x="149916" y="41714"/>
                  </a:moveTo>
                  <a:lnTo>
                    <a:pt x="149909" y="41731"/>
                  </a:lnTo>
                  <a:lnTo>
                    <a:pt x="148947" y="44205"/>
                  </a:lnTo>
                  <a:lnTo>
                    <a:pt x="148824" y="44523"/>
                  </a:lnTo>
                  <a:lnTo>
                    <a:pt x="146243" y="49390"/>
                  </a:lnTo>
                  <a:lnTo>
                    <a:pt x="134082" y="63905"/>
                  </a:lnTo>
                  <a:lnTo>
                    <a:pt x="141694" y="67192"/>
                  </a:lnTo>
                  <a:lnTo>
                    <a:pt x="143054" y="70775"/>
                  </a:lnTo>
                  <a:lnTo>
                    <a:pt x="142660" y="72589"/>
                  </a:lnTo>
                  <a:lnTo>
                    <a:pt x="139560" y="71991"/>
                  </a:lnTo>
                  <a:lnTo>
                    <a:pt x="136286" y="75870"/>
                  </a:lnTo>
                  <a:lnTo>
                    <a:pt x="125988" y="76863"/>
                  </a:lnTo>
                  <a:lnTo>
                    <a:pt x="122762" y="80935"/>
                  </a:lnTo>
                  <a:lnTo>
                    <a:pt x="120408" y="78103"/>
                  </a:lnTo>
                  <a:lnTo>
                    <a:pt x="113448" y="79044"/>
                  </a:lnTo>
                  <a:lnTo>
                    <a:pt x="110411" y="84709"/>
                  </a:lnTo>
                  <a:lnTo>
                    <a:pt x="106475" y="83910"/>
                  </a:lnTo>
                  <a:lnTo>
                    <a:pt x="103611" y="88605"/>
                  </a:lnTo>
                  <a:lnTo>
                    <a:pt x="100291" y="90145"/>
                  </a:lnTo>
                  <a:lnTo>
                    <a:pt x="90556" y="88028"/>
                  </a:lnTo>
                  <a:lnTo>
                    <a:pt x="90390" y="84633"/>
                  </a:lnTo>
                  <a:lnTo>
                    <a:pt x="87449" y="82434"/>
                  </a:lnTo>
                  <a:lnTo>
                    <a:pt x="70068" y="90356"/>
                  </a:lnTo>
                  <a:lnTo>
                    <a:pt x="60426" y="86518"/>
                  </a:lnTo>
                  <a:lnTo>
                    <a:pt x="51838" y="92954"/>
                  </a:lnTo>
                  <a:lnTo>
                    <a:pt x="46605" y="88594"/>
                  </a:lnTo>
                  <a:lnTo>
                    <a:pt x="31465" y="77122"/>
                  </a:lnTo>
                  <a:lnTo>
                    <a:pt x="7077" y="59015"/>
                  </a:lnTo>
                  <a:lnTo>
                    <a:pt x="1239" y="52945"/>
                  </a:lnTo>
                  <a:lnTo>
                    <a:pt x="182" y="46396"/>
                  </a:lnTo>
                  <a:lnTo>
                    <a:pt x="20" y="45191"/>
                  </a:lnTo>
                  <a:lnTo>
                    <a:pt x="3" y="45113"/>
                  </a:lnTo>
                  <a:lnTo>
                    <a:pt x="0" y="45096"/>
                  </a:lnTo>
                  <a:lnTo>
                    <a:pt x="9729" y="44024"/>
                  </a:lnTo>
                  <a:lnTo>
                    <a:pt x="25889" y="36737"/>
                  </a:lnTo>
                  <a:lnTo>
                    <a:pt x="30834" y="32380"/>
                  </a:lnTo>
                  <a:lnTo>
                    <a:pt x="34339" y="26414"/>
                  </a:lnTo>
                  <a:lnTo>
                    <a:pt x="37971" y="21675"/>
                  </a:lnTo>
                  <a:lnTo>
                    <a:pt x="43286" y="20980"/>
                  </a:lnTo>
                  <a:lnTo>
                    <a:pt x="42040" y="16372"/>
                  </a:lnTo>
                  <a:lnTo>
                    <a:pt x="41453" y="14667"/>
                  </a:lnTo>
                  <a:lnTo>
                    <a:pt x="40450" y="13166"/>
                  </a:lnTo>
                  <a:lnTo>
                    <a:pt x="44305" y="9668"/>
                  </a:lnTo>
                  <a:lnTo>
                    <a:pt x="50562" y="1980"/>
                  </a:lnTo>
                  <a:lnTo>
                    <a:pt x="54885" y="0"/>
                  </a:lnTo>
                  <a:lnTo>
                    <a:pt x="90684" y="2233"/>
                  </a:lnTo>
                  <a:lnTo>
                    <a:pt x="94795" y="4052"/>
                  </a:lnTo>
                  <a:lnTo>
                    <a:pt x="100958" y="12469"/>
                  </a:lnTo>
                  <a:lnTo>
                    <a:pt x="104863" y="14894"/>
                  </a:lnTo>
                  <a:lnTo>
                    <a:pt x="103028" y="21213"/>
                  </a:lnTo>
                  <a:lnTo>
                    <a:pt x="101923" y="23233"/>
                  </a:lnTo>
                  <a:lnTo>
                    <a:pt x="104944" y="24269"/>
                  </a:lnTo>
                  <a:lnTo>
                    <a:pt x="110382" y="23161"/>
                  </a:lnTo>
                  <a:lnTo>
                    <a:pt x="113637" y="25451"/>
                  </a:lnTo>
                  <a:lnTo>
                    <a:pt x="114504" y="23915"/>
                  </a:lnTo>
                  <a:lnTo>
                    <a:pt x="116669" y="21897"/>
                  </a:lnTo>
                  <a:lnTo>
                    <a:pt x="118064" y="20184"/>
                  </a:lnTo>
                  <a:lnTo>
                    <a:pt x="121237" y="23454"/>
                  </a:lnTo>
                  <a:lnTo>
                    <a:pt x="130035" y="29554"/>
                  </a:lnTo>
                  <a:lnTo>
                    <a:pt x="138223" y="32081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7C42372D-9B93-FB5F-858D-A4D8EEC6B3A2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6404647" y="5159027"/>
              <a:ext cx="195394" cy="172989"/>
            </a:xfrm>
            <a:custGeom>
              <a:avLst/>
              <a:gdLst/>
              <a:ahLst/>
              <a:cxnLst/>
              <a:rect l="0" t="0" r="0" b="0"/>
              <a:pathLst>
                <a:path w="79878" h="70719">
                  <a:moveTo>
                    <a:pt x="79769" y="18891"/>
                  </a:moveTo>
                  <a:lnTo>
                    <a:pt x="79769" y="18904"/>
                  </a:lnTo>
                  <a:lnTo>
                    <a:pt x="79770" y="18924"/>
                  </a:lnTo>
                  <a:lnTo>
                    <a:pt x="79877" y="22715"/>
                  </a:lnTo>
                  <a:lnTo>
                    <a:pt x="78547" y="31252"/>
                  </a:lnTo>
                  <a:lnTo>
                    <a:pt x="77917" y="40397"/>
                  </a:lnTo>
                  <a:lnTo>
                    <a:pt x="67665" y="41045"/>
                  </a:lnTo>
                  <a:lnTo>
                    <a:pt x="56045" y="43527"/>
                  </a:lnTo>
                  <a:lnTo>
                    <a:pt x="42742" y="53933"/>
                  </a:lnTo>
                  <a:lnTo>
                    <a:pt x="23949" y="66765"/>
                  </a:lnTo>
                  <a:lnTo>
                    <a:pt x="19509" y="70718"/>
                  </a:lnTo>
                  <a:lnTo>
                    <a:pt x="17871" y="68527"/>
                  </a:lnTo>
                  <a:lnTo>
                    <a:pt x="13804" y="67365"/>
                  </a:lnTo>
                  <a:lnTo>
                    <a:pt x="11969" y="68570"/>
                  </a:lnTo>
                  <a:lnTo>
                    <a:pt x="11965" y="60673"/>
                  </a:lnTo>
                  <a:lnTo>
                    <a:pt x="12982" y="42999"/>
                  </a:lnTo>
                  <a:lnTo>
                    <a:pt x="12300" y="39958"/>
                  </a:lnTo>
                  <a:lnTo>
                    <a:pt x="8191" y="37531"/>
                  </a:lnTo>
                  <a:lnTo>
                    <a:pt x="3414" y="35695"/>
                  </a:lnTo>
                  <a:lnTo>
                    <a:pt x="344" y="30817"/>
                  </a:lnTo>
                  <a:lnTo>
                    <a:pt x="0" y="19246"/>
                  </a:lnTo>
                  <a:lnTo>
                    <a:pt x="3" y="10706"/>
                  </a:lnTo>
                  <a:lnTo>
                    <a:pt x="244" y="1653"/>
                  </a:lnTo>
                  <a:lnTo>
                    <a:pt x="255" y="1653"/>
                  </a:lnTo>
                  <a:lnTo>
                    <a:pt x="300" y="112"/>
                  </a:lnTo>
                  <a:lnTo>
                    <a:pt x="300" y="13"/>
                  </a:lnTo>
                  <a:lnTo>
                    <a:pt x="300" y="0"/>
                  </a:lnTo>
                  <a:lnTo>
                    <a:pt x="9774" y="2691"/>
                  </a:lnTo>
                  <a:lnTo>
                    <a:pt x="19854" y="2685"/>
                  </a:lnTo>
                  <a:lnTo>
                    <a:pt x="23566" y="876"/>
                  </a:lnTo>
                  <a:lnTo>
                    <a:pt x="25670" y="1013"/>
                  </a:lnTo>
                  <a:lnTo>
                    <a:pt x="27945" y="4089"/>
                  </a:lnTo>
                  <a:lnTo>
                    <a:pt x="31577" y="7301"/>
                  </a:lnTo>
                  <a:lnTo>
                    <a:pt x="70427" y="10355"/>
                  </a:lnTo>
                  <a:lnTo>
                    <a:pt x="71947" y="11561"/>
                  </a:lnTo>
                  <a:lnTo>
                    <a:pt x="75802" y="16954"/>
                  </a:lnTo>
                  <a:lnTo>
                    <a:pt x="77115" y="18394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EC6BB9BD-9AA7-820A-DA1C-EC265B5DDDD4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6452369" y="5204266"/>
              <a:ext cx="283178" cy="220689"/>
            </a:xfrm>
            <a:custGeom>
              <a:avLst/>
              <a:gdLst/>
              <a:ahLst/>
              <a:cxnLst/>
              <a:rect l="0" t="0" r="0" b="0"/>
              <a:pathLst>
                <a:path w="115765" h="90219">
                  <a:moveTo>
                    <a:pt x="115764" y="47858"/>
                  </a:moveTo>
                  <a:lnTo>
                    <a:pt x="113455" y="49596"/>
                  </a:lnTo>
                  <a:lnTo>
                    <a:pt x="108342" y="51119"/>
                  </a:lnTo>
                  <a:lnTo>
                    <a:pt x="101854" y="60827"/>
                  </a:lnTo>
                  <a:lnTo>
                    <a:pt x="97391" y="63092"/>
                  </a:lnTo>
                  <a:lnTo>
                    <a:pt x="91895" y="61651"/>
                  </a:lnTo>
                  <a:lnTo>
                    <a:pt x="92919" y="54218"/>
                  </a:lnTo>
                  <a:lnTo>
                    <a:pt x="91401" y="50715"/>
                  </a:lnTo>
                  <a:lnTo>
                    <a:pt x="89608" y="50530"/>
                  </a:lnTo>
                  <a:lnTo>
                    <a:pt x="61633" y="75103"/>
                  </a:lnTo>
                  <a:lnTo>
                    <a:pt x="56955" y="80961"/>
                  </a:lnTo>
                  <a:lnTo>
                    <a:pt x="58102" y="84896"/>
                  </a:lnTo>
                  <a:lnTo>
                    <a:pt x="57465" y="87643"/>
                  </a:lnTo>
                  <a:lnTo>
                    <a:pt x="51547" y="90218"/>
                  </a:lnTo>
                  <a:lnTo>
                    <a:pt x="46337" y="86310"/>
                  </a:lnTo>
                  <a:lnTo>
                    <a:pt x="46667" y="79951"/>
                  </a:lnTo>
                  <a:lnTo>
                    <a:pt x="42148" y="69660"/>
                  </a:lnTo>
                  <a:lnTo>
                    <a:pt x="41710" y="63836"/>
                  </a:lnTo>
                  <a:lnTo>
                    <a:pt x="37801" y="55991"/>
                  </a:lnTo>
                  <a:lnTo>
                    <a:pt x="27984" y="65679"/>
                  </a:lnTo>
                  <a:lnTo>
                    <a:pt x="19451" y="66647"/>
                  </a:lnTo>
                  <a:lnTo>
                    <a:pt x="14781" y="64011"/>
                  </a:lnTo>
                  <a:lnTo>
                    <a:pt x="13467" y="59027"/>
                  </a:lnTo>
                  <a:lnTo>
                    <a:pt x="4991" y="58933"/>
                  </a:lnTo>
                  <a:lnTo>
                    <a:pt x="0" y="52224"/>
                  </a:lnTo>
                  <a:lnTo>
                    <a:pt x="4440" y="48271"/>
                  </a:lnTo>
                  <a:lnTo>
                    <a:pt x="23233" y="35439"/>
                  </a:lnTo>
                  <a:lnTo>
                    <a:pt x="36536" y="25033"/>
                  </a:lnTo>
                  <a:lnTo>
                    <a:pt x="48156" y="22551"/>
                  </a:lnTo>
                  <a:lnTo>
                    <a:pt x="58408" y="21903"/>
                  </a:lnTo>
                  <a:lnTo>
                    <a:pt x="59038" y="12758"/>
                  </a:lnTo>
                  <a:lnTo>
                    <a:pt x="60368" y="4221"/>
                  </a:lnTo>
                  <a:lnTo>
                    <a:pt x="60261" y="430"/>
                  </a:lnTo>
                  <a:lnTo>
                    <a:pt x="60260" y="410"/>
                  </a:lnTo>
                  <a:lnTo>
                    <a:pt x="60260" y="397"/>
                  </a:lnTo>
                  <a:lnTo>
                    <a:pt x="60281" y="400"/>
                  </a:lnTo>
                  <a:lnTo>
                    <a:pt x="63926" y="0"/>
                  </a:lnTo>
                  <a:lnTo>
                    <a:pt x="63929" y="17"/>
                  </a:lnTo>
                  <a:lnTo>
                    <a:pt x="63946" y="95"/>
                  </a:lnTo>
                  <a:lnTo>
                    <a:pt x="64108" y="1300"/>
                  </a:lnTo>
                  <a:lnTo>
                    <a:pt x="65165" y="7849"/>
                  </a:lnTo>
                  <a:lnTo>
                    <a:pt x="71003" y="13919"/>
                  </a:lnTo>
                  <a:lnTo>
                    <a:pt x="95391" y="32026"/>
                  </a:lnTo>
                  <a:lnTo>
                    <a:pt x="110531" y="43498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2F873BB3-E516-A694-844C-83BEE98E7BFB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6210942" y="5150761"/>
              <a:ext cx="225464" cy="220584"/>
            </a:xfrm>
            <a:custGeom>
              <a:avLst/>
              <a:gdLst/>
              <a:ahLst/>
              <a:cxnLst/>
              <a:rect l="0" t="0" r="0" b="0"/>
              <a:pathLst>
                <a:path w="92171" h="90176">
                  <a:moveTo>
                    <a:pt x="79488" y="3379"/>
                  </a:moveTo>
                  <a:lnTo>
                    <a:pt x="79488" y="3392"/>
                  </a:lnTo>
                  <a:lnTo>
                    <a:pt x="79488" y="3491"/>
                  </a:lnTo>
                  <a:lnTo>
                    <a:pt x="79443" y="5032"/>
                  </a:lnTo>
                  <a:lnTo>
                    <a:pt x="79432" y="5032"/>
                  </a:lnTo>
                  <a:lnTo>
                    <a:pt x="79191" y="14085"/>
                  </a:lnTo>
                  <a:lnTo>
                    <a:pt x="79188" y="22625"/>
                  </a:lnTo>
                  <a:lnTo>
                    <a:pt x="79532" y="34196"/>
                  </a:lnTo>
                  <a:lnTo>
                    <a:pt x="82602" y="39074"/>
                  </a:lnTo>
                  <a:lnTo>
                    <a:pt x="87379" y="40910"/>
                  </a:lnTo>
                  <a:lnTo>
                    <a:pt x="91488" y="43337"/>
                  </a:lnTo>
                  <a:lnTo>
                    <a:pt x="92170" y="46378"/>
                  </a:lnTo>
                  <a:lnTo>
                    <a:pt x="91153" y="64052"/>
                  </a:lnTo>
                  <a:lnTo>
                    <a:pt x="91157" y="71949"/>
                  </a:lnTo>
                  <a:lnTo>
                    <a:pt x="85365" y="75723"/>
                  </a:lnTo>
                  <a:lnTo>
                    <a:pt x="82746" y="79652"/>
                  </a:lnTo>
                  <a:lnTo>
                    <a:pt x="81968" y="86228"/>
                  </a:lnTo>
                  <a:lnTo>
                    <a:pt x="77712" y="90175"/>
                  </a:lnTo>
                  <a:lnTo>
                    <a:pt x="63764" y="84100"/>
                  </a:lnTo>
                  <a:lnTo>
                    <a:pt x="54694" y="83236"/>
                  </a:lnTo>
                  <a:lnTo>
                    <a:pt x="49338" y="77911"/>
                  </a:lnTo>
                  <a:lnTo>
                    <a:pt x="44795" y="77051"/>
                  </a:lnTo>
                  <a:lnTo>
                    <a:pt x="28263" y="80295"/>
                  </a:lnTo>
                  <a:lnTo>
                    <a:pt x="23841" y="82708"/>
                  </a:lnTo>
                  <a:lnTo>
                    <a:pt x="20542" y="86840"/>
                  </a:lnTo>
                  <a:lnTo>
                    <a:pt x="18983" y="86616"/>
                  </a:lnTo>
                  <a:lnTo>
                    <a:pt x="18508" y="84719"/>
                  </a:lnTo>
                  <a:lnTo>
                    <a:pt x="17989" y="82683"/>
                  </a:lnTo>
                  <a:lnTo>
                    <a:pt x="21239" y="76970"/>
                  </a:lnTo>
                  <a:lnTo>
                    <a:pt x="21780" y="73684"/>
                  </a:lnTo>
                  <a:lnTo>
                    <a:pt x="16141" y="56253"/>
                  </a:lnTo>
                  <a:lnTo>
                    <a:pt x="18542" y="53283"/>
                  </a:lnTo>
                  <a:lnTo>
                    <a:pt x="23602" y="51607"/>
                  </a:lnTo>
                  <a:lnTo>
                    <a:pt x="24454" y="49062"/>
                  </a:lnTo>
                  <a:lnTo>
                    <a:pt x="19763" y="46604"/>
                  </a:lnTo>
                  <a:lnTo>
                    <a:pt x="5806" y="50891"/>
                  </a:lnTo>
                  <a:lnTo>
                    <a:pt x="0" y="44283"/>
                  </a:lnTo>
                  <a:lnTo>
                    <a:pt x="2527" y="41958"/>
                  </a:lnTo>
                  <a:lnTo>
                    <a:pt x="10031" y="39243"/>
                  </a:lnTo>
                  <a:lnTo>
                    <a:pt x="21797" y="28041"/>
                  </a:lnTo>
                  <a:lnTo>
                    <a:pt x="32933" y="24155"/>
                  </a:lnTo>
                  <a:lnTo>
                    <a:pt x="33601" y="19488"/>
                  </a:lnTo>
                  <a:lnTo>
                    <a:pt x="39855" y="15371"/>
                  </a:lnTo>
                  <a:lnTo>
                    <a:pt x="47666" y="5519"/>
                  </a:lnTo>
                  <a:lnTo>
                    <a:pt x="51766" y="4571"/>
                  </a:lnTo>
                  <a:lnTo>
                    <a:pt x="54488" y="7232"/>
                  </a:lnTo>
                  <a:lnTo>
                    <a:pt x="60310" y="7243"/>
                  </a:lnTo>
                  <a:lnTo>
                    <a:pt x="66071" y="2206"/>
                  </a:lnTo>
                  <a:lnTo>
                    <a:pt x="67614" y="7"/>
                  </a:lnTo>
                  <a:lnTo>
                    <a:pt x="67619" y="0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20800FA1-49DE-F006-43B8-6EC71FC4C137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6360115" y="5195993"/>
              <a:ext cx="794739" cy="789438"/>
            </a:xfrm>
            <a:custGeom>
              <a:avLst/>
              <a:gdLst/>
              <a:ahLst/>
              <a:cxnLst/>
              <a:rect l="0" t="0" r="0" b="0"/>
              <a:pathLst>
                <a:path w="324894" h="322727">
                  <a:moveTo>
                    <a:pt x="324893" y="54956"/>
                  </a:moveTo>
                  <a:lnTo>
                    <a:pt x="315281" y="58820"/>
                  </a:lnTo>
                  <a:lnTo>
                    <a:pt x="314076" y="59644"/>
                  </a:lnTo>
                  <a:lnTo>
                    <a:pt x="313058" y="60967"/>
                  </a:lnTo>
                  <a:lnTo>
                    <a:pt x="312416" y="63971"/>
                  </a:lnTo>
                  <a:lnTo>
                    <a:pt x="311907" y="69788"/>
                  </a:lnTo>
                  <a:lnTo>
                    <a:pt x="311388" y="71674"/>
                  </a:lnTo>
                  <a:lnTo>
                    <a:pt x="310393" y="73706"/>
                  </a:lnTo>
                  <a:lnTo>
                    <a:pt x="305215" y="79611"/>
                  </a:lnTo>
                  <a:lnTo>
                    <a:pt x="304183" y="80342"/>
                  </a:lnTo>
                  <a:lnTo>
                    <a:pt x="300702" y="82056"/>
                  </a:lnTo>
                  <a:lnTo>
                    <a:pt x="299585" y="82995"/>
                  </a:lnTo>
                  <a:lnTo>
                    <a:pt x="297396" y="85503"/>
                  </a:lnTo>
                  <a:lnTo>
                    <a:pt x="295401" y="87120"/>
                  </a:lnTo>
                  <a:lnTo>
                    <a:pt x="294420" y="88244"/>
                  </a:lnTo>
                  <a:lnTo>
                    <a:pt x="293602" y="89798"/>
                  </a:lnTo>
                  <a:lnTo>
                    <a:pt x="292711" y="92836"/>
                  </a:lnTo>
                  <a:lnTo>
                    <a:pt x="291610" y="95305"/>
                  </a:lnTo>
                  <a:lnTo>
                    <a:pt x="280189" y="113377"/>
                  </a:lnTo>
                  <a:lnTo>
                    <a:pt x="278672" y="115260"/>
                  </a:lnTo>
                  <a:lnTo>
                    <a:pt x="276529" y="116362"/>
                  </a:lnTo>
                  <a:lnTo>
                    <a:pt x="273422" y="117144"/>
                  </a:lnTo>
                  <a:lnTo>
                    <a:pt x="264944" y="117342"/>
                  </a:lnTo>
                  <a:lnTo>
                    <a:pt x="262316" y="118213"/>
                  </a:lnTo>
                  <a:lnTo>
                    <a:pt x="261238" y="119080"/>
                  </a:lnTo>
                  <a:lnTo>
                    <a:pt x="260372" y="120041"/>
                  </a:lnTo>
                  <a:lnTo>
                    <a:pt x="260203" y="121979"/>
                  </a:lnTo>
                  <a:lnTo>
                    <a:pt x="260283" y="123558"/>
                  </a:lnTo>
                  <a:lnTo>
                    <a:pt x="260607" y="125034"/>
                  </a:lnTo>
                  <a:lnTo>
                    <a:pt x="261172" y="126150"/>
                  </a:lnTo>
                  <a:lnTo>
                    <a:pt x="261945" y="127087"/>
                  </a:lnTo>
                  <a:lnTo>
                    <a:pt x="265433" y="129045"/>
                  </a:lnTo>
                  <a:lnTo>
                    <a:pt x="266316" y="129821"/>
                  </a:lnTo>
                  <a:lnTo>
                    <a:pt x="266684" y="131178"/>
                  </a:lnTo>
                  <a:lnTo>
                    <a:pt x="266841" y="132636"/>
                  </a:lnTo>
                  <a:lnTo>
                    <a:pt x="267385" y="133873"/>
                  </a:lnTo>
                  <a:lnTo>
                    <a:pt x="268104" y="134868"/>
                  </a:lnTo>
                  <a:lnTo>
                    <a:pt x="270725" y="137511"/>
                  </a:lnTo>
                  <a:lnTo>
                    <a:pt x="271313" y="138647"/>
                  </a:lnTo>
                  <a:lnTo>
                    <a:pt x="271636" y="139945"/>
                  </a:lnTo>
                  <a:lnTo>
                    <a:pt x="271849" y="141363"/>
                  </a:lnTo>
                  <a:lnTo>
                    <a:pt x="272551" y="143958"/>
                  </a:lnTo>
                  <a:lnTo>
                    <a:pt x="276320" y="153691"/>
                  </a:lnTo>
                  <a:lnTo>
                    <a:pt x="279997" y="160305"/>
                  </a:lnTo>
                  <a:lnTo>
                    <a:pt x="282886" y="164542"/>
                  </a:lnTo>
                  <a:lnTo>
                    <a:pt x="285179" y="169064"/>
                  </a:lnTo>
                  <a:lnTo>
                    <a:pt x="285491" y="170304"/>
                  </a:lnTo>
                  <a:lnTo>
                    <a:pt x="285578" y="171467"/>
                  </a:lnTo>
                  <a:lnTo>
                    <a:pt x="285545" y="172138"/>
                  </a:lnTo>
                  <a:lnTo>
                    <a:pt x="285498" y="172633"/>
                  </a:lnTo>
                  <a:lnTo>
                    <a:pt x="285518" y="173818"/>
                  </a:lnTo>
                  <a:lnTo>
                    <a:pt x="285773" y="174960"/>
                  </a:lnTo>
                  <a:lnTo>
                    <a:pt x="286241" y="176156"/>
                  </a:lnTo>
                  <a:lnTo>
                    <a:pt x="291157" y="183337"/>
                  </a:lnTo>
                  <a:lnTo>
                    <a:pt x="291968" y="184252"/>
                  </a:lnTo>
                  <a:lnTo>
                    <a:pt x="292504" y="185388"/>
                  </a:lnTo>
                  <a:lnTo>
                    <a:pt x="292874" y="186685"/>
                  </a:lnTo>
                  <a:lnTo>
                    <a:pt x="292923" y="188165"/>
                  </a:lnTo>
                  <a:lnTo>
                    <a:pt x="292584" y="189870"/>
                  </a:lnTo>
                  <a:lnTo>
                    <a:pt x="291711" y="191820"/>
                  </a:lnTo>
                  <a:lnTo>
                    <a:pt x="289614" y="194840"/>
                  </a:lnTo>
                  <a:lnTo>
                    <a:pt x="286901" y="197928"/>
                  </a:lnTo>
                  <a:lnTo>
                    <a:pt x="282449" y="201027"/>
                  </a:lnTo>
                  <a:lnTo>
                    <a:pt x="279915" y="202254"/>
                  </a:lnTo>
                  <a:lnTo>
                    <a:pt x="273795" y="203620"/>
                  </a:lnTo>
                  <a:lnTo>
                    <a:pt x="271011" y="206076"/>
                  </a:lnTo>
                  <a:lnTo>
                    <a:pt x="268801" y="208758"/>
                  </a:lnTo>
                  <a:lnTo>
                    <a:pt x="262446" y="211763"/>
                  </a:lnTo>
                  <a:lnTo>
                    <a:pt x="261099" y="213087"/>
                  </a:lnTo>
                  <a:lnTo>
                    <a:pt x="259619" y="216013"/>
                  </a:lnTo>
                  <a:lnTo>
                    <a:pt x="258842" y="218020"/>
                  </a:lnTo>
                  <a:lnTo>
                    <a:pt x="258021" y="221469"/>
                  </a:lnTo>
                  <a:lnTo>
                    <a:pt x="256941" y="223521"/>
                  </a:lnTo>
                  <a:lnTo>
                    <a:pt x="255209" y="225481"/>
                  </a:lnTo>
                  <a:lnTo>
                    <a:pt x="250940" y="228233"/>
                  </a:lnTo>
                  <a:lnTo>
                    <a:pt x="249068" y="228438"/>
                  </a:lnTo>
                  <a:lnTo>
                    <a:pt x="247692" y="228004"/>
                  </a:lnTo>
                  <a:lnTo>
                    <a:pt x="246892" y="227029"/>
                  </a:lnTo>
                  <a:lnTo>
                    <a:pt x="244837" y="225458"/>
                  </a:lnTo>
                  <a:lnTo>
                    <a:pt x="243628" y="224884"/>
                  </a:lnTo>
                  <a:lnTo>
                    <a:pt x="240579" y="224375"/>
                  </a:lnTo>
                  <a:lnTo>
                    <a:pt x="235128" y="225460"/>
                  </a:lnTo>
                  <a:lnTo>
                    <a:pt x="232787" y="226617"/>
                  </a:lnTo>
                  <a:lnTo>
                    <a:pt x="213726" y="244463"/>
                  </a:lnTo>
                  <a:lnTo>
                    <a:pt x="202179" y="259276"/>
                  </a:lnTo>
                  <a:lnTo>
                    <a:pt x="199260" y="261719"/>
                  </a:lnTo>
                  <a:lnTo>
                    <a:pt x="198385" y="262973"/>
                  </a:lnTo>
                  <a:lnTo>
                    <a:pt x="197817" y="264461"/>
                  </a:lnTo>
                  <a:lnTo>
                    <a:pt x="197860" y="267205"/>
                  </a:lnTo>
                  <a:lnTo>
                    <a:pt x="198419" y="268819"/>
                  </a:lnTo>
                  <a:lnTo>
                    <a:pt x="199018" y="269997"/>
                  </a:lnTo>
                  <a:lnTo>
                    <a:pt x="199366" y="270961"/>
                  </a:lnTo>
                  <a:lnTo>
                    <a:pt x="199479" y="271907"/>
                  </a:lnTo>
                  <a:lnTo>
                    <a:pt x="199359" y="273251"/>
                  </a:lnTo>
                  <a:lnTo>
                    <a:pt x="198788" y="276417"/>
                  </a:lnTo>
                  <a:lnTo>
                    <a:pt x="198029" y="278026"/>
                  </a:lnTo>
                  <a:lnTo>
                    <a:pt x="196784" y="279422"/>
                  </a:lnTo>
                  <a:lnTo>
                    <a:pt x="194049" y="280696"/>
                  </a:lnTo>
                  <a:lnTo>
                    <a:pt x="190274" y="283642"/>
                  </a:lnTo>
                  <a:lnTo>
                    <a:pt x="185207" y="291997"/>
                  </a:lnTo>
                  <a:lnTo>
                    <a:pt x="185207" y="291997"/>
                  </a:lnTo>
                  <a:lnTo>
                    <a:pt x="182532" y="296403"/>
                  </a:lnTo>
                  <a:lnTo>
                    <a:pt x="177900" y="301090"/>
                  </a:lnTo>
                  <a:lnTo>
                    <a:pt x="171907" y="305356"/>
                  </a:lnTo>
                  <a:lnTo>
                    <a:pt x="162314" y="310008"/>
                  </a:lnTo>
                  <a:lnTo>
                    <a:pt x="158503" y="311107"/>
                  </a:lnTo>
                  <a:lnTo>
                    <a:pt x="155404" y="313544"/>
                  </a:lnTo>
                  <a:lnTo>
                    <a:pt x="149405" y="322726"/>
                  </a:lnTo>
                  <a:lnTo>
                    <a:pt x="149365" y="322520"/>
                  </a:lnTo>
                  <a:lnTo>
                    <a:pt x="149342" y="322403"/>
                  </a:lnTo>
                  <a:lnTo>
                    <a:pt x="147324" y="313177"/>
                  </a:lnTo>
                  <a:lnTo>
                    <a:pt x="142075" y="309497"/>
                  </a:lnTo>
                  <a:lnTo>
                    <a:pt x="140716" y="306012"/>
                  </a:lnTo>
                  <a:lnTo>
                    <a:pt x="141723" y="288164"/>
                  </a:lnTo>
                  <a:lnTo>
                    <a:pt x="146101" y="281770"/>
                  </a:lnTo>
                  <a:lnTo>
                    <a:pt x="146113" y="276990"/>
                  </a:lnTo>
                  <a:lnTo>
                    <a:pt x="144947" y="274768"/>
                  </a:lnTo>
                  <a:lnTo>
                    <a:pt x="138532" y="274403"/>
                  </a:lnTo>
                  <a:lnTo>
                    <a:pt x="136942" y="272500"/>
                  </a:lnTo>
                  <a:lnTo>
                    <a:pt x="138545" y="268657"/>
                  </a:lnTo>
                  <a:lnTo>
                    <a:pt x="144083" y="265218"/>
                  </a:lnTo>
                  <a:lnTo>
                    <a:pt x="142724" y="261298"/>
                  </a:lnTo>
                  <a:lnTo>
                    <a:pt x="139986" y="259098"/>
                  </a:lnTo>
                  <a:lnTo>
                    <a:pt x="132853" y="258193"/>
                  </a:lnTo>
                  <a:lnTo>
                    <a:pt x="128234" y="255363"/>
                  </a:lnTo>
                  <a:lnTo>
                    <a:pt x="122318" y="257732"/>
                  </a:lnTo>
                  <a:lnTo>
                    <a:pt x="116856" y="262960"/>
                  </a:lnTo>
                  <a:lnTo>
                    <a:pt x="113752" y="259483"/>
                  </a:lnTo>
                  <a:lnTo>
                    <a:pt x="108802" y="261210"/>
                  </a:lnTo>
                  <a:lnTo>
                    <a:pt x="106311" y="258261"/>
                  </a:lnTo>
                  <a:lnTo>
                    <a:pt x="106645" y="253580"/>
                  </a:lnTo>
                  <a:lnTo>
                    <a:pt x="103840" y="248185"/>
                  </a:lnTo>
                  <a:lnTo>
                    <a:pt x="94791" y="239639"/>
                  </a:lnTo>
                  <a:lnTo>
                    <a:pt x="94762" y="233262"/>
                  </a:lnTo>
                  <a:lnTo>
                    <a:pt x="93426" y="231037"/>
                  </a:lnTo>
                  <a:lnTo>
                    <a:pt x="87812" y="229363"/>
                  </a:lnTo>
                  <a:lnTo>
                    <a:pt x="80458" y="232048"/>
                  </a:lnTo>
                  <a:lnTo>
                    <a:pt x="76578" y="227075"/>
                  </a:lnTo>
                  <a:lnTo>
                    <a:pt x="71017" y="223480"/>
                  </a:lnTo>
                  <a:lnTo>
                    <a:pt x="59750" y="230206"/>
                  </a:lnTo>
                  <a:lnTo>
                    <a:pt x="54215" y="235411"/>
                  </a:lnTo>
                  <a:lnTo>
                    <a:pt x="50110" y="234787"/>
                  </a:lnTo>
                  <a:lnTo>
                    <a:pt x="48893" y="232361"/>
                  </a:lnTo>
                  <a:lnTo>
                    <a:pt x="50153" y="227777"/>
                  </a:lnTo>
                  <a:lnTo>
                    <a:pt x="50194" y="218653"/>
                  </a:lnTo>
                  <a:lnTo>
                    <a:pt x="54589" y="212386"/>
                  </a:lnTo>
                  <a:lnTo>
                    <a:pt x="63615" y="205671"/>
                  </a:lnTo>
                  <a:lnTo>
                    <a:pt x="63916" y="203023"/>
                  </a:lnTo>
                  <a:lnTo>
                    <a:pt x="61196" y="201866"/>
                  </a:lnTo>
                  <a:lnTo>
                    <a:pt x="52999" y="201568"/>
                  </a:lnTo>
                  <a:lnTo>
                    <a:pt x="47330" y="198280"/>
                  </a:lnTo>
                  <a:lnTo>
                    <a:pt x="43129" y="206777"/>
                  </a:lnTo>
                  <a:lnTo>
                    <a:pt x="41147" y="208370"/>
                  </a:lnTo>
                  <a:lnTo>
                    <a:pt x="26916" y="208379"/>
                  </a:lnTo>
                  <a:lnTo>
                    <a:pt x="19746" y="211242"/>
                  </a:lnTo>
                  <a:lnTo>
                    <a:pt x="7461" y="209219"/>
                  </a:lnTo>
                  <a:lnTo>
                    <a:pt x="0" y="198379"/>
                  </a:lnTo>
                  <a:lnTo>
                    <a:pt x="4719" y="182786"/>
                  </a:lnTo>
                  <a:lnTo>
                    <a:pt x="4910" y="177691"/>
                  </a:lnTo>
                  <a:lnTo>
                    <a:pt x="10808" y="168990"/>
                  </a:lnTo>
                  <a:lnTo>
                    <a:pt x="9968" y="158483"/>
                  </a:lnTo>
                  <a:lnTo>
                    <a:pt x="11111" y="154457"/>
                  </a:lnTo>
                  <a:lnTo>
                    <a:pt x="10343" y="151691"/>
                  </a:lnTo>
                  <a:lnTo>
                    <a:pt x="7274" y="149456"/>
                  </a:lnTo>
                  <a:lnTo>
                    <a:pt x="6872" y="145003"/>
                  </a:lnTo>
                  <a:lnTo>
                    <a:pt x="1777" y="136398"/>
                  </a:lnTo>
                  <a:lnTo>
                    <a:pt x="4057" y="133222"/>
                  </a:lnTo>
                  <a:lnTo>
                    <a:pt x="12340" y="131849"/>
                  </a:lnTo>
                  <a:lnTo>
                    <a:pt x="14318" y="126646"/>
                  </a:lnTo>
                  <a:lnTo>
                    <a:pt x="13723" y="123891"/>
                  </a:lnTo>
                  <a:lnTo>
                    <a:pt x="11746" y="122290"/>
                  </a:lnTo>
                  <a:lnTo>
                    <a:pt x="12050" y="117947"/>
                  </a:lnTo>
                  <a:lnTo>
                    <a:pt x="30369" y="95340"/>
                  </a:lnTo>
                  <a:lnTo>
                    <a:pt x="29106" y="93208"/>
                  </a:lnTo>
                  <a:lnTo>
                    <a:pt x="24322" y="93427"/>
                  </a:lnTo>
                  <a:lnTo>
                    <a:pt x="21458" y="91313"/>
                  </a:lnTo>
                  <a:lnTo>
                    <a:pt x="21576" y="85250"/>
                  </a:lnTo>
                  <a:lnTo>
                    <a:pt x="16561" y="74962"/>
                  </a:lnTo>
                  <a:lnTo>
                    <a:pt x="16729" y="71684"/>
                  </a:lnTo>
                  <a:lnTo>
                    <a:pt x="20985" y="67737"/>
                  </a:lnTo>
                  <a:lnTo>
                    <a:pt x="21763" y="61161"/>
                  </a:lnTo>
                  <a:lnTo>
                    <a:pt x="24382" y="57232"/>
                  </a:lnTo>
                  <a:lnTo>
                    <a:pt x="30174" y="53458"/>
                  </a:lnTo>
                  <a:lnTo>
                    <a:pt x="32009" y="52253"/>
                  </a:lnTo>
                  <a:lnTo>
                    <a:pt x="36076" y="53415"/>
                  </a:lnTo>
                  <a:lnTo>
                    <a:pt x="37714" y="55606"/>
                  </a:lnTo>
                  <a:lnTo>
                    <a:pt x="42705" y="62315"/>
                  </a:lnTo>
                  <a:lnTo>
                    <a:pt x="51181" y="62409"/>
                  </a:lnTo>
                  <a:lnTo>
                    <a:pt x="52495" y="67393"/>
                  </a:lnTo>
                  <a:lnTo>
                    <a:pt x="57165" y="70029"/>
                  </a:lnTo>
                  <a:lnTo>
                    <a:pt x="65698" y="69061"/>
                  </a:lnTo>
                  <a:lnTo>
                    <a:pt x="75515" y="59373"/>
                  </a:lnTo>
                  <a:lnTo>
                    <a:pt x="79424" y="67218"/>
                  </a:lnTo>
                  <a:lnTo>
                    <a:pt x="79862" y="73042"/>
                  </a:lnTo>
                  <a:lnTo>
                    <a:pt x="84381" y="83333"/>
                  </a:lnTo>
                  <a:lnTo>
                    <a:pt x="84051" y="89692"/>
                  </a:lnTo>
                  <a:lnTo>
                    <a:pt x="89261" y="93600"/>
                  </a:lnTo>
                  <a:lnTo>
                    <a:pt x="95179" y="91025"/>
                  </a:lnTo>
                  <a:lnTo>
                    <a:pt x="95816" y="88278"/>
                  </a:lnTo>
                  <a:lnTo>
                    <a:pt x="94669" y="84343"/>
                  </a:lnTo>
                  <a:lnTo>
                    <a:pt x="99347" y="78485"/>
                  </a:lnTo>
                  <a:lnTo>
                    <a:pt x="127322" y="53912"/>
                  </a:lnTo>
                  <a:lnTo>
                    <a:pt x="129115" y="54097"/>
                  </a:lnTo>
                  <a:lnTo>
                    <a:pt x="130633" y="57600"/>
                  </a:lnTo>
                  <a:lnTo>
                    <a:pt x="129609" y="65033"/>
                  </a:lnTo>
                  <a:lnTo>
                    <a:pt x="135105" y="66474"/>
                  </a:lnTo>
                  <a:lnTo>
                    <a:pt x="139568" y="64209"/>
                  </a:lnTo>
                  <a:lnTo>
                    <a:pt x="146056" y="54501"/>
                  </a:lnTo>
                  <a:lnTo>
                    <a:pt x="151169" y="52978"/>
                  </a:lnTo>
                  <a:lnTo>
                    <a:pt x="153478" y="51240"/>
                  </a:lnTo>
                  <a:lnTo>
                    <a:pt x="162066" y="44804"/>
                  </a:lnTo>
                  <a:lnTo>
                    <a:pt x="171708" y="48642"/>
                  </a:lnTo>
                  <a:lnTo>
                    <a:pt x="189089" y="40720"/>
                  </a:lnTo>
                  <a:lnTo>
                    <a:pt x="192030" y="42919"/>
                  </a:lnTo>
                  <a:lnTo>
                    <a:pt x="192196" y="46314"/>
                  </a:lnTo>
                  <a:lnTo>
                    <a:pt x="201931" y="48431"/>
                  </a:lnTo>
                  <a:lnTo>
                    <a:pt x="205251" y="46891"/>
                  </a:lnTo>
                  <a:lnTo>
                    <a:pt x="208115" y="42196"/>
                  </a:lnTo>
                  <a:lnTo>
                    <a:pt x="212051" y="42995"/>
                  </a:lnTo>
                  <a:lnTo>
                    <a:pt x="215088" y="37330"/>
                  </a:lnTo>
                  <a:lnTo>
                    <a:pt x="222048" y="36389"/>
                  </a:lnTo>
                  <a:lnTo>
                    <a:pt x="224402" y="39221"/>
                  </a:lnTo>
                  <a:lnTo>
                    <a:pt x="227628" y="35149"/>
                  </a:lnTo>
                  <a:lnTo>
                    <a:pt x="237926" y="34156"/>
                  </a:lnTo>
                  <a:lnTo>
                    <a:pt x="241200" y="30277"/>
                  </a:lnTo>
                  <a:lnTo>
                    <a:pt x="244300" y="30875"/>
                  </a:lnTo>
                  <a:lnTo>
                    <a:pt x="244694" y="29061"/>
                  </a:lnTo>
                  <a:lnTo>
                    <a:pt x="243334" y="25478"/>
                  </a:lnTo>
                  <a:lnTo>
                    <a:pt x="235722" y="22191"/>
                  </a:lnTo>
                  <a:lnTo>
                    <a:pt x="247883" y="7676"/>
                  </a:lnTo>
                  <a:lnTo>
                    <a:pt x="250464" y="2809"/>
                  </a:lnTo>
                  <a:lnTo>
                    <a:pt x="250587" y="2491"/>
                  </a:lnTo>
                  <a:lnTo>
                    <a:pt x="251549" y="17"/>
                  </a:lnTo>
                  <a:lnTo>
                    <a:pt x="251556" y="0"/>
                  </a:lnTo>
                  <a:lnTo>
                    <a:pt x="253603" y="1683"/>
                  </a:lnTo>
                  <a:lnTo>
                    <a:pt x="262920" y="6575"/>
                  </a:lnTo>
                  <a:lnTo>
                    <a:pt x="297485" y="12746"/>
                  </a:lnTo>
                  <a:lnTo>
                    <a:pt x="299395" y="13737"/>
                  </a:lnTo>
                  <a:lnTo>
                    <a:pt x="300620" y="16841"/>
                  </a:lnTo>
                  <a:lnTo>
                    <a:pt x="301000" y="20364"/>
                  </a:lnTo>
                  <a:lnTo>
                    <a:pt x="301550" y="23184"/>
                  </a:lnTo>
                  <a:lnTo>
                    <a:pt x="303246" y="24335"/>
                  </a:lnTo>
                  <a:lnTo>
                    <a:pt x="307885" y="26128"/>
                  </a:lnTo>
                  <a:lnTo>
                    <a:pt x="312110" y="30791"/>
                  </a:lnTo>
                  <a:lnTo>
                    <a:pt x="324893" y="54954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137">
              <a:extLst>
                <a:ext uri="{FF2B5EF4-FFF2-40B4-BE49-F238E27FC236}">
                  <a16:creationId xmlns:a16="http://schemas.microsoft.com/office/drawing/2014/main" id="{F8D392EF-9816-A6A3-4023-A7383E089170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5476101" y="5657300"/>
              <a:ext cx="1249483" cy="768553"/>
            </a:xfrm>
            <a:custGeom>
              <a:avLst/>
              <a:gdLst/>
              <a:ahLst/>
              <a:cxnLst/>
              <a:rect l="0" t="0" r="0" b="0"/>
              <a:pathLst>
                <a:path w="510796" h="314189">
                  <a:moveTo>
                    <a:pt x="269973" y="3115"/>
                  </a:moveTo>
                  <a:lnTo>
                    <a:pt x="286894" y="3036"/>
                  </a:lnTo>
                  <a:lnTo>
                    <a:pt x="298301" y="6384"/>
                  </a:lnTo>
                  <a:lnTo>
                    <a:pt x="310456" y="20665"/>
                  </a:lnTo>
                  <a:lnTo>
                    <a:pt x="316112" y="35246"/>
                  </a:lnTo>
                  <a:lnTo>
                    <a:pt x="323645" y="38457"/>
                  </a:lnTo>
                  <a:lnTo>
                    <a:pt x="323776" y="50662"/>
                  </a:lnTo>
                  <a:lnTo>
                    <a:pt x="325086" y="54498"/>
                  </a:lnTo>
                  <a:lnTo>
                    <a:pt x="331655" y="58649"/>
                  </a:lnTo>
                  <a:lnTo>
                    <a:pt x="337913" y="66430"/>
                  </a:lnTo>
                  <a:lnTo>
                    <a:pt x="343477" y="65282"/>
                  </a:lnTo>
                  <a:lnTo>
                    <a:pt x="344217" y="57740"/>
                  </a:lnTo>
                  <a:lnTo>
                    <a:pt x="345549" y="55295"/>
                  </a:lnTo>
                  <a:lnTo>
                    <a:pt x="353238" y="51187"/>
                  </a:lnTo>
                  <a:lnTo>
                    <a:pt x="353315" y="43763"/>
                  </a:lnTo>
                  <a:lnTo>
                    <a:pt x="354657" y="37802"/>
                  </a:lnTo>
                  <a:lnTo>
                    <a:pt x="354246" y="30475"/>
                  </a:lnTo>
                  <a:lnTo>
                    <a:pt x="368851" y="20634"/>
                  </a:lnTo>
                  <a:lnTo>
                    <a:pt x="381136" y="22657"/>
                  </a:lnTo>
                  <a:lnTo>
                    <a:pt x="388306" y="19794"/>
                  </a:lnTo>
                  <a:lnTo>
                    <a:pt x="402537" y="19785"/>
                  </a:lnTo>
                  <a:lnTo>
                    <a:pt x="404519" y="18192"/>
                  </a:lnTo>
                  <a:lnTo>
                    <a:pt x="408720" y="9695"/>
                  </a:lnTo>
                  <a:lnTo>
                    <a:pt x="414389" y="12983"/>
                  </a:lnTo>
                  <a:lnTo>
                    <a:pt x="422586" y="13281"/>
                  </a:lnTo>
                  <a:lnTo>
                    <a:pt x="425306" y="14438"/>
                  </a:lnTo>
                  <a:lnTo>
                    <a:pt x="425005" y="17086"/>
                  </a:lnTo>
                  <a:lnTo>
                    <a:pt x="415979" y="23801"/>
                  </a:lnTo>
                  <a:lnTo>
                    <a:pt x="411584" y="30068"/>
                  </a:lnTo>
                  <a:lnTo>
                    <a:pt x="411543" y="39192"/>
                  </a:lnTo>
                  <a:lnTo>
                    <a:pt x="410283" y="43776"/>
                  </a:lnTo>
                  <a:lnTo>
                    <a:pt x="411500" y="46202"/>
                  </a:lnTo>
                  <a:lnTo>
                    <a:pt x="415605" y="46826"/>
                  </a:lnTo>
                  <a:lnTo>
                    <a:pt x="421140" y="41621"/>
                  </a:lnTo>
                  <a:lnTo>
                    <a:pt x="432407" y="34895"/>
                  </a:lnTo>
                  <a:lnTo>
                    <a:pt x="437968" y="38490"/>
                  </a:lnTo>
                  <a:lnTo>
                    <a:pt x="441848" y="43463"/>
                  </a:lnTo>
                  <a:lnTo>
                    <a:pt x="449202" y="40778"/>
                  </a:lnTo>
                  <a:lnTo>
                    <a:pt x="454816" y="42452"/>
                  </a:lnTo>
                  <a:lnTo>
                    <a:pt x="456152" y="44677"/>
                  </a:lnTo>
                  <a:lnTo>
                    <a:pt x="456181" y="51054"/>
                  </a:lnTo>
                  <a:lnTo>
                    <a:pt x="465230" y="59600"/>
                  </a:lnTo>
                  <a:lnTo>
                    <a:pt x="468035" y="64995"/>
                  </a:lnTo>
                  <a:lnTo>
                    <a:pt x="467701" y="69676"/>
                  </a:lnTo>
                  <a:lnTo>
                    <a:pt x="470192" y="72625"/>
                  </a:lnTo>
                  <a:lnTo>
                    <a:pt x="475142" y="70898"/>
                  </a:lnTo>
                  <a:lnTo>
                    <a:pt x="478246" y="74375"/>
                  </a:lnTo>
                  <a:lnTo>
                    <a:pt x="483708" y="69147"/>
                  </a:lnTo>
                  <a:lnTo>
                    <a:pt x="489624" y="66778"/>
                  </a:lnTo>
                  <a:lnTo>
                    <a:pt x="494243" y="69608"/>
                  </a:lnTo>
                  <a:lnTo>
                    <a:pt x="501376" y="70513"/>
                  </a:lnTo>
                  <a:lnTo>
                    <a:pt x="504114" y="72713"/>
                  </a:lnTo>
                  <a:lnTo>
                    <a:pt x="505473" y="76633"/>
                  </a:lnTo>
                  <a:lnTo>
                    <a:pt x="499935" y="80072"/>
                  </a:lnTo>
                  <a:lnTo>
                    <a:pt x="498332" y="83915"/>
                  </a:lnTo>
                  <a:lnTo>
                    <a:pt x="499922" y="85818"/>
                  </a:lnTo>
                  <a:lnTo>
                    <a:pt x="506337" y="86183"/>
                  </a:lnTo>
                  <a:lnTo>
                    <a:pt x="507503" y="88405"/>
                  </a:lnTo>
                  <a:lnTo>
                    <a:pt x="507491" y="93185"/>
                  </a:lnTo>
                  <a:lnTo>
                    <a:pt x="503113" y="99579"/>
                  </a:lnTo>
                  <a:lnTo>
                    <a:pt x="502106" y="117427"/>
                  </a:lnTo>
                  <a:lnTo>
                    <a:pt x="503465" y="120912"/>
                  </a:lnTo>
                  <a:lnTo>
                    <a:pt x="508714" y="124592"/>
                  </a:lnTo>
                  <a:lnTo>
                    <a:pt x="510732" y="133818"/>
                  </a:lnTo>
                  <a:lnTo>
                    <a:pt x="510755" y="133935"/>
                  </a:lnTo>
                  <a:lnTo>
                    <a:pt x="510795" y="134141"/>
                  </a:lnTo>
                  <a:lnTo>
                    <a:pt x="506086" y="141339"/>
                  </a:lnTo>
                  <a:lnTo>
                    <a:pt x="505352" y="142786"/>
                  </a:lnTo>
                  <a:lnTo>
                    <a:pt x="503706" y="144775"/>
                  </a:lnTo>
                  <a:lnTo>
                    <a:pt x="502151" y="146069"/>
                  </a:lnTo>
                  <a:lnTo>
                    <a:pt x="495160" y="149399"/>
                  </a:lnTo>
                  <a:lnTo>
                    <a:pt x="493994" y="150651"/>
                  </a:lnTo>
                  <a:lnTo>
                    <a:pt x="490410" y="158971"/>
                  </a:lnTo>
                  <a:lnTo>
                    <a:pt x="489502" y="160162"/>
                  </a:lnTo>
                  <a:lnTo>
                    <a:pt x="488355" y="161157"/>
                  </a:lnTo>
                  <a:lnTo>
                    <a:pt x="484817" y="161813"/>
                  </a:lnTo>
                  <a:lnTo>
                    <a:pt x="483277" y="161546"/>
                  </a:lnTo>
                  <a:lnTo>
                    <a:pt x="474924" y="157233"/>
                  </a:lnTo>
                  <a:lnTo>
                    <a:pt x="473660" y="156845"/>
                  </a:lnTo>
                  <a:lnTo>
                    <a:pt x="472510" y="157542"/>
                  </a:lnTo>
                  <a:lnTo>
                    <a:pt x="471599" y="159405"/>
                  </a:lnTo>
                  <a:lnTo>
                    <a:pt x="471304" y="169457"/>
                  </a:lnTo>
                  <a:lnTo>
                    <a:pt x="471076" y="171117"/>
                  </a:lnTo>
                  <a:lnTo>
                    <a:pt x="468267" y="177076"/>
                  </a:lnTo>
                  <a:lnTo>
                    <a:pt x="467349" y="184030"/>
                  </a:lnTo>
                  <a:lnTo>
                    <a:pt x="448707" y="189247"/>
                  </a:lnTo>
                  <a:lnTo>
                    <a:pt x="378859" y="184154"/>
                  </a:lnTo>
                  <a:lnTo>
                    <a:pt x="375167" y="183125"/>
                  </a:lnTo>
                  <a:lnTo>
                    <a:pt x="371760" y="181196"/>
                  </a:lnTo>
                  <a:lnTo>
                    <a:pt x="368514" y="180041"/>
                  </a:lnTo>
                  <a:lnTo>
                    <a:pt x="365390" y="181297"/>
                  </a:lnTo>
                  <a:lnTo>
                    <a:pt x="366032" y="182091"/>
                  </a:lnTo>
                  <a:lnTo>
                    <a:pt x="366228" y="182184"/>
                  </a:lnTo>
                  <a:lnTo>
                    <a:pt x="366352" y="182527"/>
                  </a:lnTo>
                  <a:lnTo>
                    <a:pt x="366725" y="184144"/>
                  </a:lnTo>
                  <a:lnTo>
                    <a:pt x="363029" y="185911"/>
                  </a:lnTo>
                  <a:lnTo>
                    <a:pt x="359560" y="184553"/>
                  </a:lnTo>
                  <a:lnTo>
                    <a:pt x="353281" y="178897"/>
                  </a:lnTo>
                  <a:lnTo>
                    <a:pt x="350394" y="189340"/>
                  </a:lnTo>
                  <a:lnTo>
                    <a:pt x="352126" y="193448"/>
                  </a:lnTo>
                  <a:lnTo>
                    <a:pt x="353218" y="201007"/>
                  </a:lnTo>
                  <a:lnTo>
                    <a:pt x="353611" y="209250"/>
                  </a:lnTo>
                  <a:lnTo>
                    <a:pt x="353205" y="215437"/>
                  </a:lnTo>
                  <a:lnTo>
                    <a:pt x="350742" y="221619"/>
                  </a:lnTo>
                  <a:lnTo>
                    <a:pt x="347069" y="223756"/>
                  </a:lnTo>
                  <a:lnTo>
                    <a:pt x="326547" y="221702"/>
                  </a:lnTo>
                  <a:lnTo>
                    <a:pt x="320856" y="222581"/>
                  </a:lnTo>
                  <a:lnTo>
                    <a:pt x="316070" y="230598"/>
                  </a:lnTo>
                  <a:lnTo>
                    <a:pt x="300494" y="228048"/>
                  </a:lnTo>
                  <a:lnTo>
                    <a:pt x="300984" y="230042"/>
                  </a:lnTo>
                  <a:lnTo>
                    <a:pt x="301216" y="230104"/>
                  </a:lnTo>
                  <a:lnTo>
                    <a:pt x="301973" y="230887"/>
                  </a:lnTo>
                  <a:lnTo>
                    <a:pt x="299978" y="232290"/>
                  </a:lnTo>
                  <a:lnTo>
                    <a:pt x="298342" y="232001"/>
                  </a:lnTo>
                  <a:lnTo>
                    <a:pt x="296972" y="230454"/>
                  </a:lnTo>
                  <a:lnTo>
                    <a:pt x="295841" y="228022"/>
                  </a:lnTo>
                  <a:lnTo>
                    <a:pt x="298355" y="223341"/>
                  </a:lnTo>
                  <a:lnTo>
                    <a:pt x="299434" y="223891"/>
                  </a:lnTo>
                  <a:lnTo>
                    <a:pt x="300507" y="225669"/>
                  </a:lnTo>
                  <a:lnTo>
                    <a:pt x="300192" y="222792"/>
                  </a:lnTo>
                  <a:lnTo>
                    <a:pt x="299849" y="221607"/>
                  </a:lnTo>
                  <a:lnTo>
                    <a:pt x="299033" y="220437"/>
                  </a:lnTo>
                  <a:lnTo>
                    <a:pt x="296397" y="224698"/>
                  </a:lnTo>
                  <a:lnTo>
                    <a:pt x="292978" y="228005"/>
                  </a:lnTo>
                  <a:lnTo>
                    <a:pt x="293956" y="231975"/>
                  </a:lnTo>
                  <a:lnTo>
                    <a:pt x="294449" y="233471"/>
                  </a:lnTo>
                  <a:lnTo>
                    <a:pt x="292987" y="233852"/>
                  </a:lnTo>
                  <a:lnTo>
                    <a:pt x="289938" y="236289"/>
                  </a:lnTo>
                  <a:lnTo>
                    <a:pt x="297388" y="243922"/>
                  </a:lnTo>
                  <a:lnTo>
                    <a:pt x="295228" y="245682"/>
                  </a:lnTo>
                  <a:lnTo>
                    <a:pt x="283719" y="250803"/>
                  </a:lnTo>
                  <a:lnTo>
                    <a:pt x="266340" y="263880"/>
                  </a:lnTo>
                  <a:lnTo>
                    <a:pt x="255853" y="265211"/>
                  </a:lnTo>
                  <a:lnTo>
                    <a:pt x="248987" y="264670"/>
                  </a:lnTo>
                  <a:lnTo>
                    <a:pt x="249012" y="261824"/>
                  </a:lnTo>
                  <a:lnTo>
                    <a:pt x="248155" y="261397"/>
                  </a:lnTo>
                  <a:lnTo>
                    <a:pt x="247403" y="261189"/>
                  </a:lnTo>
                  <a:lnTo>
                    <a:pt x="246718" y="260638"/>
                  </a:lnTo>
                  <a:lnTo>
                    <a:pt x="246188" y="259653"/>
                  </a:lnTo>
                  <a:lnTo>
                    <a:pt x="246817" y="258539"/>
                  </a:lnTo>
                  <a:lnTo>
                    <a:pt x="247448" y="257192"/>
                  </a:lnTo>
                  <a:lnTo>
                    <a:pt x="247550" y="256820"/>
                  </a:lnTo>
                  <a:lnTo>
                    <a:pt x="247136" y="252977"/>
                  </a:lnTo>
                  <a:lnTo>
                    <a:pt x="248067" y="248008"/>
                  </a:lnTo>
                  <a:lnTo>
                    <a:pt x="247610" y="244118"/>
                  </a:lnTo>
                  <a:lnTo>
                    <a:pt x="244621" y="242706"/>
                  </a:lnTo>
                  <a:lnTo>
                    <a:pt x="244539" y="240918"/>
                  </a:lnTo>
                  <a:lnTo>
                    <a:pt x="241307" y="243718"/>
                  </a:lnTo>
                  <a:lnTo>
                    <a:pt x="238729" y="249182"/>
                  </a:lnTo>
                  <a:lnTo>
                    <a:pt x="237914" y="255705"/>
                  </a:lnTo>
                  <a:lnTo>
                    <a:pt x="239982" y="261742"/>
                  </a:lnTo>
                  <a:lnTo>
                    <a:pt x="231349" y="263151"/>
                  </a:lnTo>
                  <a:lnTo>
                    <a:pt x="220191" y="255665"/>
                  </a:lnTo>
                  <a:lnTo>
                    <a:pt x="212583" y="242614"/>
                  </a:lnTo>
                  <a:lnTo>
                    <a:pt x="214642" y="227336"/>
                  </a:lnTo>
                  <a:lnTo>
                    <a:pt x="211353" y="229305"/>
                  </a:lnTo>
                  <a:lnTo>
                    <a:pt x="205922" y="236132"/>
                  </a:lnTo>
                  <a:lnTo>
                    <a:pt x="202374" y="237877"/>
                  </a:lnTo>
                  <a:lnTo>
                    <a:pt x="199084" y="237418"/>
                  </a:lnTo>
                  <a:lnTo>
                    <a:pt x="182786" y="229282"/>
                  </a:lnTo>
                  <a:lnTo>
                    <a:pt x="180254" y="227196"/>
                  </a:lnTo>
                  <a:lnTo>
                    <a:pt x="178375" y="224512"/>
                  </a:lnTo>
                  <a:lnTo>
                    <a:pt x="176357" y="218980"/>
                  </a:lnTo>
                  <a:lnTo>
                    <a:pt x="175376" y="214768"/>
                  </a:lnTo>
                  <a:lnTo>
                    <a:pt x="173893" y="212121"/>
                  </a:lnTo>
                  <a:lnTo>
                    <a:pt x="170367" y="211107"/>
                  </a:lnTo>
                  <a:lnTo>
                    <a:pt x="169003" y="212720"/>
                  </a:lnTo>
                  <a:lnTo>
                    <a:pt x="167232" y="216599"/>
                  </a:lnTo>
                  <a:lnTo>
                    <a:pt x="165679" y="221336"/>
                  </a:lnTo>
                  <a:lnTo>
                    <a:pt x="164976" y="225492"/>
                  </a:lnTo>
                  <a:lnTo>
                    <a:pt x="166888" y="234508"/>
                  </a:lnTo>
                  <a:lnTo>
                    <a:pt x="168528" y="240144"/>
                  </a:lnTo>
                  <a:lnTo>
                    <a:pt x="169926" y="242668"/>
                  </a:lnTo>
                  <a:lnTo>
                    <a:pt x="173488" y="242919"/>
                  </a:lnTo>
                  <a:lnTo>
                    <a:pt x="176619" y="243848"/>
                  </a:lnTo>
                  <a:lnTo>
                    <a:pt x="179414" y="245877"/>
                  </a:lnTo>
                  <a:lnTo>
                    <a:pt x="182001" y="249471"/>
                  </a:lnTo>
                  <a:lnTo>
                    <a:pt x="182636" y="254378"/>
                  </a:lnTo>
                  <a:lnTo>
                    <a:pt x="180660" y="258706"/>
                  </a:lnTo>
                  <a:lnTo>
                    <a:pt x="179504" y="263325"/>
                  </a:lnTo>
                  <a:lnTo>
                    <a:pt x="182579" y="268932"/>
                  </a:lnTo>
                  <a:lnTo>
                    <a:pt x="179715" y="274445"/>
                  </a:lnTo>
                  <a:lnTo>
                    <a:pt x="180327" y="282477"/>
                  </a:lnTo>
                  <a:lnTo>
                    <a:pt x="181363" y="289722"/>
                  </a:lnTo>
                  <a:lnTo>
                    <a:pt x="179866" y="292827"/>
                  </a:lnTo>
                  <a:lnTo>
                    <a:pt x="178615" y="293650"/>
                  </a:lnTo>
                  <a:lnTo>
                    <a:pt x="177495" y="295408"/>
                  </a:lnTo>
                  <a:lnTo>
                    <a:pt x="176016" y="297177"/>
                  </a:lnTo>
                  <a:lnTo>
                    <a:pt x="173685" y="297985"/>
                  </a:lnTo>
                  <a:lnTo>
                    <a:pt x="168644" y="297152"/>
                  </a:lnTo>
                  <a:lnTo>
                    <a:pt x="163983" y="294987"/>
                  </a:lnTo>
                  <a:lnTo>
                    <a:pt x="158456" y="290615"/>
                  </a:lnTo>
                  <a:lnTo>
                    <a:pt x="156403" y="289652"/>
                  </a:lnTo>
                  <a:lnTo>
                    <a:pt x="148548" y="289767"/>
                  </a:lnTo>
                  <a:lnTo>
                    <a:pt x="146613" y="288198"/>
                  </a:lnTo>
                  <a:lnTo>
                    <a:pt x="134126" y="268219"/>
                  </a:lnTo>
                  <a:lnTo>
                    <a:pt x="126962" y="260886"/>
                  </a:lnTo>
                  <a:lnTo>
                    <a:pt x="101303" y="244169"/>
                  </a:lnTo>
                  <a:lnTo>
                    <a:pt x="91424" y="241122"/>
                  </a:lnTo>
                  <a:lnTo>
                    <a:pt x="86753" y="238077"/>
                  </a:lnTo>
                  <a:lnTo>
                    <a:pt x="82882" y="227223"/>
                  </a:lnTo>
                  <a:lnTo>
                    <a:pt x="78216" y="225078"/>
                  </a:lnTo>
                  <a:lnTo>
                    <a:pt x="69841" y="225049"/>
                  </a:lnTo>
                  <a:lnTo>
                    <a:pt x="64531" y="227304"/>
                  </a:lnTo>
                  <a:lnTo>
                    <a:pt x="59429" y="231131"/>
                  </a:lnTo>
                  <a:lnTo>
                    <a:pt x="54951" y="235779"/>
                  </a:lnTo>
                  <a:lnTo>
                    <a:pt x="51489" y="240558"/>
                  </a:lnTo>
                  <a:lnTo>
                    <a:pt x="49526" y="243905"/>
                  </a:lnTo>
                  <a:lnTo>
                    <a:pt x="48581" y="246108"/>
                  </a:lnTo>
                  <a:lnTo>
                    <a:pt x="48287" y="248107"/>
                  </a:lnTo>
                  <a:lnTo>
                    <a:pt x="48253" y="250906"/>
                  </a:lnTo>
                  <a:lnTo>
                    <a:pt x="48585" y="254149"/>
                  </a:lnTo>
                  <a:lnTo>
                    <a:pt x="49582" y="258619"/>
                  </a:lnTo>
                  <a:lnTo>
                    <a:pt x="51183" y="262588"/>
                  </a:lnTo>
                  <a:lnTo>
                    <a:pt x="53371" y="264315"/>
                  </a:lnTo>
                  <a:lnTo>
                    <a:pt x="54807" y="268467"/>
                  </a:lnTo>
                  <a:lnTo>
                    <a:pt x="57110" y="277552"/>
                  </a:lnTo>
                  <a:lnTo>
                    <a:pt x="60438" y="286674"/>
                  </a:lnTo>
                  <a:lnTo>
                    <a:pt x="66666" y="292309"/>
                  </a:lnTo>
                  <a:lnTo>
                    <a:pt x="66670" y="295621"/>
                  </a:lnTo>
                  <a:lnTo>
                    <a:pt x="65377" y="302532"/>
                  </a:lnTo>
                  <a:lnTo>
                    <a:pt x="65241" y="306075"/>
                  </a:lnTo>
                  <a:lnTo>
                    <a:pt x="65284" y="307910"/>
                  </a:lnTo>
                  <a:lnTo>
                    <a:pt x="68017" y="314188"/>
                  </a:lnTo>
                  <a:lnTo>
                    <a:pt x="63292" y="312846"/>
                  </a:lnTo>
                  <a:lnTo>
                    <a:pt x="53919" y="307484"/>
                  </a:lnTo>
                  <a:lnTo>
                    <a:pt x="49394" y="306220"/>
                  </a:lnTo>
                  <a:lnTo>
                    <a:pt x="47330" y="303516"/>
                  </a:lnTo>
                  <a:lnTo>
                    <a:pt x="46095" y="297455"/>
                  </a:lnTo>
                  <a:lnTo>
                    <a:pt x="46430" y="291178"/>
                  </a:lnTo>
                  <a:lnTo>
                    <a:pt x="49094" y="287691"/>
                  </a:lnTo>
                  <a:lnTo>
                    <a:pt x="47476" y="285276"/>
                  </a:lnTo>
                  <a:lnTo>
                    <a:pt x="46633" y="282738"/>
                  </a:lnTo>
                  <a:lnTo>
                    <a:pt x="46654" y="280111"/>
                  </a:lnTo>
                  <a:lnTo>
                    <a:pt x="47678" y="277241"/>
                  </a:lnTo>
                  <a:lnTo>
                    <a:pt x="43568" y="276684"/>
                  </a:lnTo>
                  <a:lnTo>
                    <a:pt x="41780" y="275912"/>
                  </a:lnTo>
                  <a:lnTo>
                    <a:pt x="40349" y="274480"/>
                  </a:lnTo>
                  <a:lnTo>
                    <a:pt x="39439" y="271007"/>
                  </a:lnTo>
                  <a:lnTo>
                    <a:pt x="38590" y="265623"/>
                  </a:lnTo>
                  <a:lnTo>
                    <a:pt x="37329" y="260649"/>
                  </a:lnTo>
                  <a:lnTo>
                    <a:pt x="35235" y="258454"/>
                  </a:lnTo>
                  <a:lnTo>
                    <a:pt x="30836" y="256255"/>
                  </a:lnTo>
                  <a:lnTo>
                    <a:pt x="10515" y="230344"/>
                  </a:lnTo>
                  <a:lnTo>
                    <a:pt x="4446" y="218670"/>
                  </a:lnTo>
                  <a:lnTo>
                    <a:pt x="744" y="204999"/>
                  </a:lnTo>
                  <a:lnTo>
                    <a:pt x="0" y="189769"/>
                  </a:lnTo>
                  <a:lnTo>
                    <a:pt x="1015" y="175982"/>
                  </a:lnTo>
                  <a:lnTo>
                    <a:pt x="2677" y="169087"/>
                  </a:lnTo>
                  <a:lnTo>
                    <a:pt x="5835" y="166163"/>
                  </a:lnTo>
                  <a:lnTo>
                    <a:pt x="10454" y="166543"/>
                  </a:lnTo>
                  <a:lnTo>
                    <a:pt x="12877" y="166243"/>
                  </a:lnTo>
                  <a:lnTo>
                    <a:pt x="13967" y="165072"/>
                  </a:lnTo>
                  <a:lnTo>
                    <a:pt x="15082" y="160650"/>
                  </a:lnTo>
                  <a:lnTo>
                    <a:pt x="17206" y="162754"/>
                  </a:lnTo>
                  <a:lnTo>
                    <a:pt x="19225" y="167049"/>
                  </a:lnTo>
                  <a:lnTo>
                    <a:pt x="19978" y="169120"/>
                  </a:lnTo>
                  <a:lnTo>
                    <a:pt x="23130" y="174608"/>
                  </a:lnTo>
                  <a:lnTo>
                    <a:pt x="24667" y="178283"/>
                  </a:lnTo>
                  <a:lnTo>
                    <a:pt x="25653" y="182319"/>
                  </a:lnTo>
                  <a:lnTo>
                    <a:pt x="25724" y="186505"/>
                  </a:lnTo>
                  <a:lnTo>
                    <a:pt x="25186" y="195762"/>
                  </a:lnTo>
                  <a:lnTo>
                    <a:pt x="26068" y="199298"/>
                  </a:lnTo>
                  <a:lnTo>
                    <a:pt x="28901" y="203501"/>
                  </a:lnTo>
                  <a:lnTo>
                    <a:pt x="32449" y="207020"/>
                  </a:lnTo>
                  <a:lnTo>
                    <a:pt x="36366" y="207762"/>
                  </a:lnTo>
                  <a:lnTo>
                    <a:pt x="40300" y="203761"/>
                  </a:lnTo>
                  <a:lnTo>
                    <a:pt x="41057" y="202269"/>
                  </a:lnTo>
                  <a:lnTo>
                    <a:pt x="41989" y="200969"/>
                  </a:lnTo>
                  <a:lnTo>
                    <a:pt x="42048" y="198357"/>
                  </a:lnTo>
                  <a:lnTo>
                    <a:pt x="34537" y="182198"/>
                  </a:lnTo>
                  <a:lnTo>
                    <a:pt x="33367" y="178688"/>
                  </a:lnTo>
                  <a:lnTo>
                    <a:pt x="32843" y="175538"/>
                  </a:lnTo>
                  <a:lnTo>
                    <a:pt x="42932" y="170419"/>
                  </a:lnTo>
                  <a:lnTo>
                    <a:pt x="49145" y="170655"/>
                  </a:lnTo>
                  <a:lnTo>
                    <a:pt x="56551" y="174431"/>
                  </a:lnTo>
                  <a:lnTo>
                    <a:pt x="58882" y="173729"/>
                  </a:lnTo>
                  <a:lnTo>
                    <a:pt x="64407" y="168217"/>
                  </a:lnTo>
                  <a:lnTo>
                    <a:pt x="66237" y="162745"/>
                  </a:lnTo>
                  <a:lnTo>
                    <a:pt x="68667" y="159922"/>
                  </a:lnTo>
                  <a:lnTo>
                    <a:pt x="84047" y="157358"/>
                  </a:lnTo>
                  <a:lnTo>
                    <a:pt x="89503" y="161079"/>
                  </a:lnTo>
                  <a:lnTo>
                    <a:pt x="92052" y="158579"/>
                  </a:lnTo>
                  <a:lnTo>
                    <a:pt x="105738" y="158628"/>
                  </a:lnTo>
                  <a:lnTo>
                    <a:pt x="121326" y="154333"/>
                  </a:lnTo>
                  <a:lnTo>
                    <a:pt x="123678" y="151727"/>
                  </a:lnTo>
                  <a:lnTo>
                    <a:pt x="124460" y="148342"/>
                  </a:lnTo>
                  <a:lnTo>
                    <a:pt x="123840" y="145568"/>
                  </a:lnTo>
                  <a:lnTo>
                    <a:pt x="118435" y="142077"/>
                  </a:lnTo>
                  <a:lnTo>
                    <a:pt x="117062" y="133669"/>
                  </a:lnTo>
                  <a:lnTo>
                    <a:pt x="118057" y="129114"/>
                  </a:lnTo>
                  <a:lnTo>
                    <a:pt x="126138" y="121413"/>
                  </a:lnTo>
                  <a:lnTo>
                    <a:pt x="139356" y="114403"/>
                  </a:lnTo>
                  <a:lnTo>
                    <a:pt x="142099" y="113599"/>
                  </a:lnTo>
                  <a:lnTo>
                    <a:pt x="152893" y="117479"/>
                  </a:lnTo>
                  <a:lnTo>
                    <a:pt x="157605" y="115180"/>
                  </a:lnTo>
                  <a:lnTo>
                    <a:pt x="159617" y="114183"/>
                  </a:lnTo>
                  <a:lnTo>
                    <a:pt x="161449" y="108483"/>
                  </a:lnTo>
                  <a:lnTo>
                    <a:pt x="164313" y="108525"/>
                  </a:lnTo>
                  <a:lnTo>
                    <a:pt x="165403" y="121338"/>
                  </a:lnTo>
                  <a:lnTo>
                    <a:pt x="168190" y="121003"/>
                  </a:lnTo>
                  <a:lnTo>
                    <a:pt x="171584" y="117219"/>
                  </a:lnTo>
                  <a:lnTo>
                    <a:pt x="171929" y="109482"/>
                  </a:lnTo>
                  <a:lnTo>
                    <a:pt x="175797" y="106238"/>
                  </a:lnTo>
                  <a:lnTo>
                    <a:pt x="177617" y="92676"/>
                  </a:lnTo>
                  <a:lnTo>
                    <a:pt x="182936" y="83623"/>
                  </a:lnTo>
                  <a:lnTo>
                    <a:pt x="184013" y="75462"/>
                  </a:lnTo>
                  <a:lnTo>
                    <a:pt x="190009" y="70761"/>
                  </a:lnTo>
                  <a:lnTo>
                    <a:pt x="195540" y="58409"/>
                  </a:lnTo>
                  <a:lnTo>
                    <a:pt x="198270" y="57593"/>
                  </a:lnTo>
                  <a:lnTo>
                    <a:pt x="207011" y="59832"/>
                  </a:lnTo>
                  <a:lnTo>
                    <a:pt x="208465" y="59414"/>
                  </a:lnTo>
                  <a:lnTo>
                    <a:pt x="209841" y="55185"/>
                  </a:lnTo>
                  <a:lnTo>
                    <a:pt x="219133" y="56355"/>
                  </a:lnTo>
                  <a:lnTo>
                    <a:pt x="222423" y="58622"/>
                  </a:lnTo>
                  <a:lnTo>
                    <a:pt x="226938" y="65996"/>
                  </a:lnTo>
                  <a:lnTo>
                    <a:pt x="230613" y="67832"/>
                  </a:lnTo>
                  <a:lnTo>
                    <a:pt x="235446" y="61838"/>
                  </a:lnTo>
                  <a:lnTo>
                    <a:pt x="235448" y="55459"/>
                  </a:lnTo>
                  <a:lnTo>
                    <a:pt x="241659" y="43848"/>
                  </a:lnTo>
                  <a:lnTo>
                    <a:pt x="239093" y="34592"/>
                  </a:lnTo>
                  <a:lnTo>
                    <a:pt x="239969" y="25151"/>
                  </a:lnTo>
                  <a:lnTo>
                    <a:pt x="245155" y="17981"/>
                  </a:lnTo>
                  <a:lnTo>
                    <a:pt x="259862" y="10458"/>
                  </a:lnTo>
                  <a:lnTo>
                    <a:pt x="260718" y="9301"/>
                  </a:lnTo>
                  <a:lnTo>
                    <a:pt x="258719" y="3132"/>
                  </a:lnTo>
                  <a:lnTo>
                    <a:pt x="260836" y="1768"/>
                  </a:lnTo>
                  <a:lnTo>
                    <a:pt x="264249" y="542"/>
                  </a:lnTo>
                  <a:lnTo>
                    <a:pt x="265726" y="0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151">
              <a:extLst>
                <a:ext uri="{FF2B5EF4-FFF2-40B4-BE49-F238E27FC236}">
                  <a16:creationId xmlns:a16="http://schemas.microsoft.com/office/drawing/2014/main" id="{C32D2492-317F-0CC7-FA87-B99F424F1EF1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6414295" y="2014744"/>
              <a:ext cx="497295" cy="588610"/>
            </a:xfrm>
            <a:custGeom>
              <a:avLst/>
              <a:gdLst/>
              <a:ahLst/>
              <a:cxnLst/>
              <a:rect l="l" t="t" r="r" b="b"/>
              <a:pathLst>
                <a:path w="203297" h="240627">
                  <a:moveTo>
                    <a:pt x="95032" y="198905"/>
                  </a:moveTo>
                  <a:lnTo>
                    <a:pt x="104133" y="199569"/>
                  </a:lnTo>
                  <a:lnTo>
                    <a:pt x="108764" y="201788"/>
                  </a:lnTo>
                  <a:lnTo>
                    <a:pt x="108463" y="206422"/>
                  </a:lnTo>
                  <a:lnTo>
                    <a:pt x="102909" y="210115"/>
                  </a:lnTo>
                  <a:lnTo>
                    <a:pt x="101761" y="211662"/>
                  </a:lnTo>
                  <a:lnTo>
                    <a:pt x="101448" y="215083"/>
                  </a:lnTo>
                  <a:lnTo>
                    <a:pt x="102531" y="217686"/>
                  </a:lnTo>
                  <a:lnTo>
                    <a:pt x="102903" y="219905"/>
                  </a:lnTo>
                  <a:lnTo>
                    <a:pt x="100468" y="222114"/>
                  </a:lnTo>
                  <a:lnTo>
                    <a:pt x="102686" y="228578"/>
                  </a:lnTo>
                  <a:lnTo>
                    <a:pt x="103588" y="233716"/>
                  </a:lnTo>
                  <a:lnTo>
                    <a:pt x="102270" y="237673"/>
                  </a:lnTo>
                  <a:lnTo>
                    <a:pt x="97907" y="240627"/>
                  </a:lnTo>
                  <a:lnTo>
                    <a:pt x="88346" y="230495"/>
                  </a:lnTo>
                  <a:lnTo>
                    <a:pt x="88327" y="227651"/>
                  </a:lnTo>
                  <a:lnTo>
                    <a:pt x="90971" y="224883"/>
                  </a:lnTo>
                  <a:lnTo>
                    <a:pt x="88853" y="219148"/>
                  </a:lnTo>
                  <a:lnTo>
                    <a:pt x="82683" y="209426"/>
                  </a:lnTo>
                  <a:lnTo>
                    <a:pt x="85030" y="211121"/>
                  </a:lnTo>
                  <a:lnTo>
                    <a:pt x="87523" y="211697"/>
                  </a:lnTo>
                  <a:lnTo>
                    <a:pt x="89985" y="211090"/>
                  </a:lnTo>
                  <a:lnTo>
                    <a:pt x="92285" y="209366"/>
                  </a:lnTo>
                  <a:lnTo>
                    <a:pt x="92266" y="206538"/>
                  </a:lnTo>
                  <a:lnTo>
                    <a:pt x="78735" y="206621"/>
                  </a:lnTo>
                  <a:lnTo>
                    <a:pt x="78721" y="204228"/>
                  </a:lnTo>
                  <a:lnTo>
                    <a:pt x="86334" y="200763"/>
                  </a:lnTo>
                  <a:close/>
                  <a:moveTo>
                    <a:pt x="18984" y="165336"/>
                  </a:moveTo>
                  <a:lnTo>
                    <a:pt x="22006" y="167258"/>
                  </a:lnTo>
                  <a:lnTo>
                    <a:pt x="28781" y="174006"/>
                  </a:lnTo>
                  <a:lnTo>
                    <a:pt x="33155" y="175489"/>
                  </a:lnTo>
                  <a:lnTo>
                    <a:pt x="36986" y="177717"/>
                  </a:lnTo>
                  <a:lnTo>
                    <a:pt x="47490" y="193956"/>
                  </a:lnTo>
                  <a:lnTo>
                    <a:pt x="44689" y="196328"/>
                  </a:lnTo>
                  <a:lnTo>
                    <a:pt x="44698" y="199156"/>
                  </a:lnTo>
                  <a:lnTo>
                    <a:pt x="47041" y="199365"/>
                  </a:lnTo>
                  <a:lnTo>
                    <a:pt x="48687" y="200478"/>
                  </a:lnTo>
                  <a:lnTo>
                    <a:pt x="51576" y="204354"/>
                  </a:lnTo>
                  <a:lnTo>
                    <a:pt x="51585" y="206747"/>
                  </a:lnTo>
                  <a:lnTo>
                    <a:pt x="47809" y="207288"/>
                  </a:lnTo>
                  <a:lnTo>
                    <a:pt x="43126" y="208981"/>
                  </a:lnTo>
                  <a:lnTo>
                    <a:pt x="38939" y="212256"/>
                  </a:lnTo>
                  <a:lnTo>
                    <a:pt x="36631" y="217437"/>
                  </a:lnTo>
                  <a:lnTo>
                    <a:pt x="42555" y="217002"/>
                  </a:lnTo>
                  <a:lnTo>
                    <a:pt x="54092" y="211337"/>
                  </a:lnTo>
                  <a:lnTo>
                    <a:pt x="59726" y="211905"/>
                  </a:lnTo>
                  <a:lnTo>
                    <a:pt x="54881" y="219446"/>
                  </a:lnTo>
                  <a:lnTo>
                    <a:pt x="45063" y="222434"/>
                  </a:lnTo>
                  <a:lnTo>
                    <a:pt x="26557" y="222448"/>
                  </a:lnTo>
                  <a:lnTo>
                    <a:pt x="25570" y="220647"/>
                  </a:lnTo>
                  <a:lnTo>
                    <a:pt x="21750" y="210847"/>
                  </a:lnTo>
                  <a:lnTo>
                    <a:pt x="20891" y="207492"/>
                  </a:lnTo>
                  <a:lnTo>
                    <a:pt x="18939" y="205350"/>
                  </a:lnTo>
                  <a:lnTo>
                    <a:pt x="16650" y="203628"/>
                  </a:lnTo>
                  <a:lnTo>
                    <a:pt x="14852" y="201827"/>
                  </a:lnTo>
                  <a:lnTo>
                    <a:pt x="10789" y="194029"/>
                  </a:lnTo>
                  <a:lnTo>
                    <a:pt x="10570" y="191855"/>
                  </a:lnTo>
                  <a:lnTo>
                    <a:pt x="11341" y="190206"/>
                  </a:lnTo>
                  <a:lnTo>
                    <a:pt x="11823" y="188528"/>
                  </a:lnTo>
                  <a:lnTo>
                    <a:pt x="10784" y="186198"/>
                  </a:lnTo>
                  <a:lnTo>
                    <a:pt x="9408" y="185701"/>
                  </a:lnTo>
                  <a:lnTo>
                    <a:pt x="7061" y="187940"/>
                  </a:lnTo>
                  <a:lnTo>
                    <a:pt x="6128" y="187505"/>
                  </a:lnTo>
                  <a:lnTo>
                    <a:pt x="4221" y="185859"/>
                  </a:lnTo>
                  <a:lnTo>
                    <a:pt x="2203" y="186233"/>
                  </a:lnTo>
                  <a:lnTo>
                    <a:pt x="627" y="185921"/>
                  </a:lnTo>
                  <a:lnTo>
                    <a:pt x="0" y="182051"/>
                  </a:lnTo>
                  <a:lnTo>
                    <a:pt x="2942" y="174592"/>
                  </a:lnTo>
                  <a:lnTo>
                    <a:pt x="3359" y="173147"/>
                  </a:lnTo>
                  <a:lnTo>
                    <a:pt x="7921" y="168577"/>
                  </a:lnTo>
                  <a:lnTo>
                    <a:pt x="16575" y="165401"/>
                  </a:lnTo>
                  <a:close/>
                  <a:moveTo>
                    <a:pt x="39675" y="81384"/>
                  </a:moveTo>
                  <a:lnTo>
                    <a:pt x="49155" y="81835"/>
                  </a:lnTo>
                  <a:lnTo>
                    <a:pt x="54373" y="83697"/>
                  </a:lnTo>
                  <a:lnTo>
                    <a:pt x="61187" y="90645"/>
                  </a:lnTo>
                  <a:lnTo>
                    <a:pt x="63789" y="90540"/>
                  </a:lnTo>
                  <a:lnTo>
                    <a:pt x="66211" y="89333"/>
                  </a:lnTo>
                  <a:lnTo>
                    <a:pt x="68445" y="89073"/>
                  </a:lnTo>
                  <a:lnTo>
                    <a:pt x="70481" y="90679"/>
                  </a:lnTo>
                  <a:lnTo>
                    <a:pt x="73596" y="95246"/>
                  </a:lnTo>
                  <a:lnTo>
                    <a:pt x="75425" y="96635"/>
                  </a:lnTo>
                  <a:lnTo>
                    <a:pt x="72618" y="98981"/>
                  </a:lnTo>
                  <a:lnTo>
                    <a:pt x="71293" y="99267"/>
                  </a:lnTo>
                  <a:lnTo>
                    <a:pt x="75024" y="103490"/>
                  </a:lnTo>
                  <a:lnTo>
                    <a:pt x="86245" y="109857"/>
                  </a:lnTo>
                  <a:lnTo>
                    <a:pt x="84802" y="110458"/>
                  </a:lnTo>
                  <a:lnTo>
                    <a:pt x="84190" y="111036"/>
                  </a:lnTo>
                  <a:lnTo>
                    <a:pt x="83575" y="112454"/>
                  </a:lnTo>
                  <a:lnTo>
                    <a:pt x="84444" y="113257"/>
                  </a:lnTo>
                  <a:lnTo>
                    <a:pt x="85386" y="114370"/>
                  </a:lnTo>
                  <a:lnTo>
                    <a:pt x="86278" y="115048"/>
                  </a:lnTo>
                  <a:lnTo>
                    <a:pt x="74666" y="119870"/>
                  </a:lnTo>
                  <a:lnTo>
                    <a:pt x="72869" y="119040"/>
                  </a:lnTo>
                  <a:lnTo>
                    <a:pt x="71253" y="125172"/>
                  </a:lnTo>
                  <a:lnTo>
                    <a:pt x="67399" y="130800"/>
                  </a:lnTo>
                  <a:lnTo>
                    <a:pt x="62892" y="134846"/>
                  </a:lnTo>
                  <a:lnTo>
                    <a:pt x="59397" y="136057"/>
                  </a:lnTo>
                  <a:lnTo>
                    <a:pt x="62365" y="138671"/>
                  </a:lnTo>
                  <a:lnTo>
                    <a:pt x="66187" y="140238"/>
                  </a:lnTo>
                  <a:lnTo>
                    <a:pt x="73597" y="141210"/>
                  </a:lnTo>
                  <a:lnTo>
                    <a:pt x="76565" y="138677"/>
                  </a:lnTo>
                  <a:lnTo>
                    <a:pt x="79566" y="133952"/>
                  </a:lnTo>
                  <a:lnTo>
                    <a:pt x="82946" y="131228"/>
                  </a:lnTo>
                  <a:lnTo>
                    <a:pt x="90377" y="138175"/>
                  </a:lnTo>
                  <a:lnTo>
                    <a:pt x="93143" y="137364"/>
                  </a:lnTo>
                  <a:lnTo>
                    <a:pt x="95730" y="134907"/>
                  </a:lnTo>
                  <a:lnTo>
                    <a:pt x="98484" y="133458"/>
                  </a:lnTo>
                  <a:lnTo>
                    <a:pt x="101606" y="135393"/>
                  </a:lnTo>
                  <a:lnTo>
                    <a:pt x="103749" y="139045"/>
                  </a:lnTo>
                  <a:lnTo>
                    <a:pt x="105970" y="141141"/>
                  </a:lnTo>
                  <a:lnTo>
                    <a:pt x="109290" y="138364"/>
                  </a:lnTo>
                  <a:lnTo>
                    <a:pt x="108887" y="140139"/>
                  </a:lnTo>
                  <a:lnTo>
                    <a:pt x="108346" y="144604"/>
                  </a:lnTo>
                  <a:lnTo>
                    <a:pt x="107984" y="146440"/>
                  </a:lnTo>
                  <a:lnTo>
                    <a:pt x="112056" y="147279"/>
                  </a:lnTo>
                  <a:lnTo>
                    <a:pt x="115406" y="145168"/>
                  </a:lnTo>
                  <a:lnTo>
                    <a:pt x="118628" y="142313"/>
                  </a:lnTo>
                  <a:lnTo>
                    <a:pt x="122198" y="140867"/>
                  </a:lnTo>
                  <a:lnTo>
                    <a:pt x="126691" y="140500"/>
                  </a:lnTo>
                  <a:lnTo>
                    <a:pt x="128574" y="141229"/>
                  </a:lnTo>
                  <a:lnTo>
                    <a:pt x="129631" y="143643"/>
                  </a:lnTo>
                  <a:lnTo>
                    <a:pt x="128385" y="147477"/>
                  </a:lnTo>
                  <a:lnTo>
                    <a:pt x="120435" y="153423"/>
                  </a:lnTo>
                  <a:lnTo>
                    <a:pt x="117494" y="156572"/>
                  </a:lnTo>
                  <a:lnTo>
                    <a:pt x="119768" y="161510"/>
                  </a:lnTo>
                  <a:lnTo>
                    <a:pt x="122622" y="164639"/>
                  </a:lnTo>
                  <a:lnTo>
                    <a:pt x="126014" y="165774"/>
                  </a:lnTo>
                  <a:lnTo>
                    <a:pt x="129834" y="164745"/>
                  </a:lnTo>
                  <a:lnTo>
                    <a:pt x="126988" y="156674"/>
                  </a:lnTo>
                  <a:lnTo>
                    <a:pt x="125672" y="154092"/>
                  </a:lnTo>
                  <a:lnTo>
                    <a:pt x="129295" y="153748"/>
                  </a:lnTo>
                  <a:lnTo>
                    <a:pt x="135860" y="149224"/>
                  </a:lnTo>
                  <a:lnTo>
                    <a:pt x="139086" y="148539"/>
                  </a:lnTo>
                  <a:lnTo>
                    <a:pt x="141868" y="150049"/>
                  </a:lnTo>
                  <a:lnTo>
                    <a:pt x="143079" y="153052"/>
                  </a:lnTo>
                  <a:lnTo>
                    <a:pt x="143407" y="157446"/>
                  </a:lnTo>
                  <a:lnTo>
                    <a:pt x="143404" y="163180"/>
                  </a:lnTo>
                  <a:lnTo>
                    <a:pt x="141810" y="165854"/>
                  </a:lnTo>
                  <a:lnTo>
                    <a:pt x="138081" y="167929"/>
                  </a:lnTo>
                  <a:lnTo>
                    <a:pt x="130556" y="169695"/>
                  </a:lnTo>
                  <a:lnTo>
                    <a:pt x="127996" y="171630"/>
                  </a:lnTo>
                  <a:lnTo>
                    <a:pt x="123537" y="180342"/>
                  </a:lnTo>
                  <a:lnTo>
                    <a:pt x="120432" y="182840"/>
                  </a:lnTo>
                  <a:lnTo>
                    <a:pt x="117365" y="182447"/>
                  </a:lnTo>
                  <a:lnTo>
                    <a:pt x="102364" y="176272"/>
                  </a:lnTo>
                  <a:lnTo>
                    <a:pt x="100017" y="174098"/>
                  </a:lnTo>
                  <a:lnTo>
                    <a:pt x="97937" y="170912"/>
                  </a:lnTo>
                  <a:lnTo>
                    <a:pt x="90653" y="155468"/>
                  </a:lnTo>
                  <a:lnTo>
                    <a:pt x="89144" y="153070"/>
                  </a:lnTo>
                  <a:lnTo>
                    <a:pt x="86669" y="153582"/>
                  </a:lnTo>
                  <a:lnTo>
                    <a:pt x="83924" y="157329"/>
                  </a:lnTo>
                  <a:lnTo>
                    <a:pt x="80782" y="160611"/>
                  </a:lnTo>
                  <a:lnTo>
                    <a:pt x="77117" y="159668"/>
                  </a:lnTo>
                  <a:lnTo>
                    <a:pt x="75119" y="161295"/>
                  </a:lnTo>
                  <a:lnTo>
                    <a:pt x="73304" y="161071"/>
                  </a:lnTo>
                  <a:lnTo>
                    <a:pt x="71340" y="160149"/>
                  </a:lnTo>
                  <a:lnTo>
                    <a:pt x="68802" y="159712"/>
                  </a:lnTo>
                  <a:lnTo>
                    <a:pt x="71639" y="165168"/>
                  </a:lnTo>
                  <a:lnTo>
                    <a:pt x="65535" y="164653"/>
                  </a:lnTo>
                  <a:lnTo>
                    <a:pt x="63180" y="165985"/>
                  </a:lnTo>
                  <a:lnTo>
                    <a:pt x="62244" y="170169"/>
                  </a:lnTo>
                  <a:lnTo>
                    <a:pt x="57375" y="168092"/>
                  </a:lnTo>
                  <a:lnTo>
                    <a:pt x="45512" y="170156"/>
                  </a:lnTo>
                  <a:lnTo>
                    <a:pt x="40542" y="165292"/>
                  </a:lnTo>
                  <a:lnTo>
                    <a:pt x="38423" y="156814"/>
                  </a:lnTo>
                  <a:lnTo>
                    <a:pt x="39026" y="148544"/>
                  </a:lnTo>
                  <a:lnTo>
                    <a:pt x="41378" y="141359"/>
                  </a:lnTo>
                  <a:lnTo>
                    <a:pt x="44495" y="136112"/>
                  </a:lnTo>
                  <a:lnTo>
                    <a:pt x="44487" y="133735"/>
                  </a:lnTo>
                  <a:lnTo>
                    <a:pt x="43030" y="131378"/>
                  </a:lnTo>
                  <a:lnTo>
                    <a:pt x="41901" y="128848"/>
                  </a:lnTo>
                  <a:lnTo>
                    <a:pt x="41060" y="126146"/>
                  </a:lnTo>
                  <a:lnTo>
                    <a:pt x="40420" y="123337"/>
                  </a:lnTo>
                  <a:lnTo>
                    <a:pt x="38286" y="124648"/>
                  </a:lnTo>
                  <a:lnTo>
                    <a:pt x="36898" y="126423"/>
                  </a:lnTo>
                  <a:lnTo>
                    <a:pt x="36631" y="128583"/>
                  </a:lnTo>
                  <a:lnTo>
                    <a:pt x="37872" y="131143"/>
                  </a:lnTo>
                  <a:lnTo>
                    <a:pt x="37879" y="133754"/>
                  </a:lnTo>
                  <a:lnTo>
                    <a:pt x="36017" y="132547"/>
                  </a:lnTo>
                  <a:lnTo>
                    <a:pt x="34286" y="132038"/>
                  </a:lnTo>
                  <a:lnTo>
                    <a:pt x="32653" y="132462"/>
                  </a:lnTo>
                  <a:lnTo>
                    <a:pt x="31022" y="133770"/>
                  </a:lnTo>
                  <a:lnTo>
                    <a:pt x="32836" y="135351"/>
                  </a:lnTo>
                  <a:lnTo>
                    <a:pt x="33539" y="137727"/>
                  </a:lnTo>
                  <a:lnTo>
                    <a:pt x="33346" y="140727"/>
                  </a:lnTo>
                  <a:lnTo>
                    <a:pt x="33740" y="141363"/>
                  </a:lnTo>
                  <a:lnTo>
                    <a:pt x="34754" y="146348"/>
                  </a:lnTo>
                  <a:lnTo>
                    <a:pt x="33111" y="149849"/>
                  </a:lnTo>
                  <a:lnTo>
                    <a:pt x="28380" y="154630"/>
                  </a:lnTo>
                  <a:lnTo>
                    <a:pt x="28385" y="157038"/>
                  </a:lnTo>
                  <a:lnTo>
                    <a:pt x="21713" y="154455"/>
                  </a:lnTo>
                  <a:lnTo>
                    <a:pt x="15782" y="144673"/>
                  </a:lnTo>
                  <a:lnTo>
                    <a:pt x="13125" y="131965"/>
                  </a:lnTo>
                  <a:lnTo>
                    <a:pt x="16237" y="120525"/>
                  </a:lnTo>
                  <a:lnTo>
                    <a:pt x="17578" y="117943"/>
                  </a:lnTo>
                  <a:lnTo>
                    <a:pt x="16335" y="100697"/>
                  </a:lnTo>
                  <a:lnTo>
                    <a:pt x="21503" y="89441"/>
                  </a:lnTo>
                  <a:lnTo>
                    <a:pt x="30224" y="83272"/>
                  </a:lnTo>
                  <a:close/>
                  <a:moveTo>
                    <a:pt x="158322" y="75185"/>
                  </a:moveTo>
                  <a:lnTo>
                    <a:pt x="161086" y="75526"/>
                  </a:lnTo>
                  <a:lnTo>
                    <a:pt x="161115" y="77903"/>
                  </a:lnTo>
                  <a:lnTo>
                    <a:pt x="160483" y="79076"/>
                  </a:lnTo>
                  <a:lnTo>
                    <a:pt x="159925" y="80513"/>
                  </a:lnTo>
                  <a:lnTo>
                    <a:pt x="165356" y="80277"/>
                  </a:lnTo>
                  <a:lnTo>
                    <a:pt x="167742" y="80886"/>
                  </a:lnTo>
                  <a:lnTo>
                    <a:pt x="169441" y="82760"/>
                  </a:lnTo>
                  <a:lnTo>
                    <a:pt x="166896" y="82123"/>
                  </a:lnTo>
                  <a:lnTo>
                    <a:pt x="164855" y="84215"/>
                  </a:lnTo>
                  <a:lnTo>
                    <a:pt x="164442" y="87669"/>
                  </a:lnTo>
                  <a:lnTo>
                    <a:pt x="166752" y="91075"/>
                  </a:lnTo>
                  <a:lnTo>
                    <a:pt x="169123" y="91699"/>
                  </a:lnTo>
                  <a:lnTo>
                    <a:pt x="171645" y="90907"/>
                  </a:lnTo>
                  <a:lnTo>
                    <a:pt x="176208" y="88113"/>
                  </a:lnTo>
                  <a:lnTo>
                    <a:pt x="176337" y="90069"/>
                  </a:lnTo>
                  <a:lnTo>
                    <a:pt x="176001" y="90572"/>
                  </a:lnTo>
                  <a:lnTo>
                    <a:pt x="175449" y="90516"/>
                  </a:lnTo>
                  <a:lnTo>
                    <a:pt x="174928" y="90973"/>
                  </a:lnTo>
                  <a:lnTo>
                    <a:pt x="173716" y="95387"/>
                  </a:lnTo>
                  <a:lnTo>
                    <a:pt x="174936" y="97686"/>
                  </a:lnTo>
                  <a:lnTo>
                    <a:pt x="180407" y="101112"/>
                  </a:lnTo>
                  <a:lnTo>
                    <a:pt x="176951" y="105073"/>
                  </a:lnTo>
                  <a:lnTo>
                    <a:pt x="168440" y="106518"/>
                  </a:lnTo>
                  <a:lnTo>
                    <a:pt x="164291" y="109147"/>
                  </a:lnTo>
                  <a:lnTo>
                    <a:pt x="163761" y="100529"/>
                  </a:lnTo>
                  <a:lnTo>
                    <a:pt x="160785" y="96228"/>
                  </a:lnTo>
                  <a:lnTo>
                    <a:pt x="156841" y="95747"/>
                  </a:lnTo>
                  <a:lnTo>
                    <a:pt x="153454" y="98597"/>
                  </a:lnTo>
                  <a:lnTo>
                    <a:pt x="154051" y="104604"/>
                  </a:lnTo>
                  <a:lnTo>
                    <a:pt x="149832" y="106174"/>
                  </a:lnTo>
                  <a:lnTo>
                    <a:pt x="146778" y="103285"/>
                  </a:lnTo>
                  <a:lnTo>
                    <a:pt x="150741" y="96016"/>
                  </a:lnTo>
                  <a:lnTo>
                    <a:pt x="153672" y="94585"/>
                  </a:lnTo>
                  <a:lnTo>
                    <a:pt x="156742" y="94177"/>
                  </a:lnTo>
                  <a:lnTo>
                    <a:pt x="159162" y="92736"/>
                  </a:lnTo>
                  <a:lnTo>
                    <a:pt x="160019" y="88312"/>
                  </a:lnTo>
                  <a:lnTo>
                    <a:pt x="158723" y="86089"/>
                  </a:lnTo>
                  <a:lnTo>
                    <a:pt x="152581" y="79509"/>
                  </a:lnTo>
                  <a:lnTo>
                    <a:pt x="150538" y="78024"/>
                  </a:lnTo>
                  <a:close/>
                  <a:moveTo>
                    <a:pt x="70335" y="62525"/>
                  </a:moveTo>
                  <a:lnTo>
                    <a:pt x="75236" y="62746"/>
                  </a:lnTo>
                  <a:lnTo>
                    <a:pt x="75455" y="63491"/>
                  </a:lnTo>
                  <a:lnTo>
                    <a:pt x="75814" y="65027"/>
                  </a:lnTo>
                  <a:lnTo>
                    <a:pt x="76557" y="66748"/>
                  </a:lnTo>
                  <a:lnTo>
                    <a:pt x="77935" y="67952"/>
                  </a:lnTo>
                  <a:lnTo>
                    <a:pt x="79196" y="68257"/>
                  </a:lnTo>
                  <a:lnTo>
                    <a:pt x="80623" y="68263"/>
                  </a:lnTo>
                  <a:lnTo>
                    <a:pt x="88645" y="66256"/>
                  </a:lnTo>
                  <a:lnTo>
                    <a:pt x="91179" y="66240"/>
                  </a:lnTo>
                  <a:lnTo>
                    <a:pt x="94115" y="67852"/>
                  </a:lnTo>
                  <a:lnTo>
                    <a:pt x="94224" y="69762"/>
                  </a:lnTo>
                  <a:lnTo>
                    <a:pt x="93957" y="70309"/>
                  </a:lnTo>
                  <a:lnTo>
                    <a:pt x="93383" y="70327"/>
                  </a:lnTo>
                  <a:lnTo>
                    <a:pt x="92684" y="70690"/>
                  </a:lnTo>
                  <a:lnTo>
                    <a:pt x="89423" y="75434"/>
                  </a:lnTo>
                  <a:lnTo>
                    <a:pt x="90078" y="81490"/>
                  </a:lnTo>
                  <a:lnTo>
                    <a:pt x="89873" y="86745"/>
                  </a:lnTo>
                  <a:lnTo>
                    <a:pt x="84092" y="88986"/>
                  </a:lnTo>
                  <a:lnTo>
                    <a:pt x="77879" y="88603"/>
                  </a:lnTo>
                  <a:lnTo>
                    <a:pt x="72154" y="86909"/>
                  </a:lnTo>
                  <a:lnTo>
                    <a:pt x="66996" y="83425"/>
                  </a:lnTo>
                  <a:lnTo>
                    <a:pt x="62484" y="77509"/>
                  </a:lnTo>
                  <a:lnTo>
                    <a:pt x="61320" y="70553"/>
                  </a:lnTo>
                  <a:lnTo>
                    <a:pt x="64827" y="65316"/>
                  </a:lnTo>
                  <a:close/>
                  <a:moveTo>
                    <a:pt x="128235" y="40943"/>
                  </a:moveTo>
                  <a:lnTo>
                    <a:pt x="131436" y="41223"/>
                  </a:lnTo>
                  <a:lnTo>
                    <a:pt x="131464" y="44082"/>
                  </a:lnTo>
                  <a:lnTo>
                    <a:pt x="129992" y="44096"/>
                  </a:lnTo>
                  <a:lnTo>
                    <a:pt x="130018" y="46674"/>
                  </a:lnTo>
                  <a:lnTo>
                    <a:pt x="132590" y="46060"/>
                  </a:lnTo>
                  <a:lnTo>
                    <a:pt x="134903" y="46534"/>
                  </a:lnTo>
                  <a:lnTo>
                    <a:pt x="136768" y="48333"/>
                  </a:lnTo>
                  <a:lnTo>
                    <a:pt x="138085" y="51816"/>
                  </a:lnTo>
                  <a:lnTo>
                    <a:pt x="136837" y="55138"/>
                  </a:lnTo>
                  <a:lnTo>
                    <a:pt x="132572" y="61847"/>
                  </a:lnTo>
                  <a:lnTo>
                    <a:pt x="131658" y="63752"/>
                  </a:lnTo>
                  <a:lnTo>
                    <a:pt x="131717" y="69780"/>
                  </a:lnTo>
                  <a:lnTo>
                    <a:pt x="132190" y="74779"/>
                  </a:lnTo>
                  <a:lnTo>
                    <a:pt x="133760" y="77871"/>
                  </a:lnTo>
                  <a:lnTo>
                    <a:pt x="137018" y="78165"/>
                  </a:lnTo>
                  <a:lnTo>
                    <a:pt x="137044" y="80761"/>
                  </a:lnTo>
                  <a:lnTo>
                    <a:pt x="131274" y="83023"/>
                  </a:lnTo>
                  <a:lnTo>
                    <a:pt x="127879" y="83521"/>
                  </a:lnTo>
                  <a:lnTo>
                    <a:pt x="126340" y="82044"/>
                  </a:lnTo>
                  <a:lnTo>
                    <a:pt x="125622" y="76969"/>
                  </a:lnTo>
                  <a:lnTo>
                    <a:pt x="123810" y="73350"/>
                  </a:lnTo>
                  <a:lnTo>
                    <a:pt x="121215" y="71182"/>
                  </a:lnTo>
                  <a:lnTo>
                    <a:pt x="118211" y="70494"/>
                  </a:lnTo>
                  <a:lnTo>
                    <a:pt x="118140" y="62445"/>
                  </a:lnTo>
                  <a:lnTo>
                    <a:pt x="120661" y="64567"/>
                  </a:lnTo>
                  <a:lnTo>
                    <a:pt x="122651" y="64332"/>
                  </a:lnTo>
                  <a:lnTo>
                    <a:pt x="124568" y="63087"/>
                  </a:lnTo>
                  <a:lnTo>
                    <a:pt x="126776" y="62368"/>
                  </a:lnTo>
                  <a:lnTo>
                    <a:pt x="126970" y="61030"/>
                  </a:lnTo>
                  <a:lnTo>
                    <a:pt x="125857" y="54451"/>
                  </a:lnTo>
                  <a:lnTo>
                    <a:pt x="126056" y="51932"/>
                  </a:lnTo>
                  <a:lnTo>
                    <a:pt x="125469" y="47059"/>
                  </a:lnTo>
                  <a:lnTo>
                    <a:pt x="126212" y="43136"/>
                  </a:lnTo>
                  <a:close/>
                  <a:moveTo>
                    <a:pt x="199480" y="14850"/>
                  </a:moveTo>
                  <a:lnTo>
                    <a:pt x="200694" y="15842"/>
                  </a:lnTo>
                  <a:lnTo>
                    <a:pt x="202653" y="23940"/>
                  </a:lnTo>
                  <a:lnTo>
                    <a:pt x="203297" y="27597"/>
                  </a:lnTo>
                  <a:lnTo>
                    <a:pt x="194062" y="28230"/>
                  </a:lnTo>
                  <a:lnTo>
                    <a:pt x="190348" y="30209"/>
                  </a:lnTo>
                  <a:lnTo>
                    <a:pt x="188849" y="34395"/>
                  </a:lnTo>
                  <a:lnTo>
                    <a:pt x="186747" y="36506"/>
                  </a:lnTo>
                  <a:lnTo>
                    <a:pt x="183055" y="45553"/>
                  </a:lnTo>
                  <a:lnTo>
                    <a:pt x="181693" y="47794"/>
                  </a:lnTo>
                  <a:lnTo>
                    <a:pt x="179703" y="48954"/>
                  </a:lnTo>
                  <a:lnTo>
                    <a:pt x="179296" y="40662"/>
                  </a:lnTo>
                  <a:lnTo>
                    <a:pt x="176008" y="41077"/>
                  </a:lnTo>
                  <a:lnTo>
                    <a:pt x="167595" y="51486"/>
                  </a:lnTo>
                  <a:lnTo>
                    <a:pt x="168532" y="47512"/>
                  </a:lnTo>
                  <a:lnTo>
                    <a:pt x="168978" y="46248"/>
                  </a:lnTo>
                  <a:lnTo>
                    <a:pt x="168945" y="43669"/>
                  </a:lnTo>
                  <a:lnTo>
                    <a:pt x="165218" y="45983"/>
                  </a:lnTo>
                  <a:lnTo>
                    <a:pt x="163616" y="45816"/>
                  </a:lnTo>
                  <a:lnTo>
                    <a:pt x="162150" y="43752"/>
                  </a:lnTo>
                  <a:lnTo>
                    <a:pt x="155021" y="54012"/>
                  </a:lnTo>
                  <a:lnTo>
                    <a:pt x="151031" y="58206"/>
                  </a:lnTo>
                  <a:lnTo>
                    <a:pt x="147611" y="57171"/>
                  </a:lnTo>
                  <a:lnTo>
                    <a:pt x="147158" y="62350"/>
                  </a:lnTo>
                  <a:lnTo>
                    <a:pt x="146053" y="64725"/>
                  </a:lnTo>
                  <a:lnTo>
                    <a:pt x="145072" y="63927"/>
                  </a:lnTo>
                  <a:lnTo>
                    <a:pt x="144960" y="59577"/>
                  </a:lnTo>
                  <a:lnTo>
                    <a:pt x="145873" y="54113"/>
                  </a:lnTo>
                  <a:lnTo>
                    <a:pt x="147212" y="52126"/>
                  </a:lnTo>
                  <a:lnTo>
                    <a:pt x="149058" y="51267"/>
                  </a:lnTo>
                  <a:lnTo>
                    <a:pt x="151527" y="49296"/>
                  </a:lnTo>
                  <a:lnTo>
                    <a:pt x="153273" y="46775"/>
                  </a:lnTo>
                  <a:lnTo>
                    <a:pt x="156443" y="40896"/>
                  </a:lnTo>
                  <a:lnTo>
                    <a:pt x="158087" y="38579"/>
                  </a:lnTo>
                  <a:lnTo>
                    <a:pt x="160418" y="37307"/>
                  </a:lnTo>
                  <a:lnTo>
                    <a:pt x="162343" y="37331"/>
                  </a:lnTo>
                  <a:lnTo>
                    <a:pt x="163734" y="36009"/>
                  </a:lnTo>
                  <a:lnTo>
                    <a:pt x="164535" y="30685"/>
                  </a:lnTo>
                  <a:lnTo>
                    <a:pt x="163440" y="29533"/>
                  </a:lnTo>
                  <a:lnTo>
                    <a:pt x="160479" y="25279"/>
                  </a:lnTo>
                  <a:lnTo>
                    <a:pt x="165134" y="25177"/>
                  </a:lnTo>
                  <a:lnTo>
                    <a:pt x="172976" y="20278"/>
                  </a:lnTo>
                  <a:lnTo>
                    <a:pt x="177871" y="19842"/>
                  </a:lnTo>
                  <a:lnTo>
                    <a:pt x="177910" y="22685"/>
                  </a:lnTo>
                  <a:lnTo>
                    <a:pt x="175035" y="24587"/>
                  </a:lnTo>
                  <a:lnTo>
                    <a:pt x="172170" y="27281"/>
                  </a:lnTo>
                  <a:lnTo>
                    <a:pt x="167368" y="33494"/>
                  </a:lnTo>
                  <a:lnTo>
                    <a:pt x="168837" y="33912"/>
                  </a:lnTo>
                  <a:lnTo>
                    <a:pt x="169440" y="34433"/>
                  </a:lnTo>
                  <a:lnTo>
                    <a:pt x="170054" y="35839"/>
                  </a:lnTo>
                  <a:lnTo>
                    <a:pt x="172292" y="33619"/>
                  </a:lnTo>
                  <a:lnTo>
                    <a:pt x="178689" y="32201"/>
                  </a:lnTo>
                  <a:lnTo>
                    <a:pt x="183760" y="26383"/>
                  </a:lnTo>
                  <a:lnTo>
                    <a:pt x="186724" y="25816"/>
                  </a:lnTo>
                  <a:lnTo>
                    <a:pt x="189855" y="25803"/>
                  </a:lnTo>
                  <a:lnTo>
                    <a:pt x="192726" y="24861"/>
                  </a:lnTo>
                  <a:lnTo>
                    <a:pt x="196814" y="18152"/>
                  </a:lnTo>
                  <a:close/>
                  <a:moveTo>
                    <a:pt x="91252" y="0"/>
                  </a:moveTo>
                  <a:lnTo>
                    <a:pt x="94879" y="2649"/>
                  </a:lnTo>
                  <a:lnTo>
                    <a:pt x="94955" y="4310"/>
                  </a:lnTo>
                  <a:lnTo>
                    <a:pt x="94704" y="4701"/>
                  </a:lnTo>
                  <a:lnTo>
                    <a:pt x="94212" y="4674"/>
                  </a:lnTo>
                  <a:lnTo>
                    <a:pt x="93675" y="5018"/>
                  </a:lnTo>
                  <a:lnTo>
                    <a:pt x="91552" y="7892"/>
                  </a:lnTo>
                  <a:lnTo>
                    <a:pt x="91454" y="9757"/>
                  </a:lnTo>
                  <a:lnTo>
                    <a:pt x="92287" y="13108"/>
                  </a:lnTo>
                  <a:lnTo>
                    <a:pt x="88272" y="13383"/>
                  </a:lnTo>
                  <a:lnTo>
                    <a:pt x="86937" y="13143"/>
                  </a:lnTo>
                  <a:lnTo>
                    <a:pt x="86954" y="15737"/>
                  </a:lnTo>
                  <a:lnTo>
                    <a:pt x="102258" y="20495"/>
                  </a:lnTo>
                  <a:lnTo>
                    <a:pt x="105010" y="22029"/>
                  </a:lnTo>
                  <a:lnTo>
                    <a:pt x="108792" y="31943"/>
                  </a:lnTo>
                  <a:lnTo>
                    <a:pt x="109899" y="34078"/>
                  </a:lnTo>
                  <a:lnTo>
                    <a:pt x="112129" y="35505"/>
                  </a:lnTo>
                  <a:lnTo>
                    <a:pt x="114231" y="35767"/>
                  </a:lnTo>
                  <a:lnTo>
                    <a:pt x="116160" y="36404"/>
                  </a:lnTo>
                  <a:lnTo>
                    <a:pt x="117933" y="38984"/>
                  </a:lnTo>
                  <a:lnTo>
                    <a:pt x="117954" y="41346"/>
                  </a:lnTo>
                  <a:lnTo>
                    <a:pt x="114040" y="41363"/>
                  </a:lnTo>
                  <a:lnTo>
                    <a:pt x="111693" y="43263"/>
                  </a:lnTo>
                  <a:lnTo>
                    <a:pt x="107210" y="49715"/>
                  </a:lnTo>
                  <a:lnTo>
                    <a:pt x="107445" y="46343"/>
                  </a:lnTo>
                  <a:lnTo>
                    <a:pt x="107774" y="43744"/>
                  </a:lnTo>
                  <a:lnTo>
                    <a:pt x="108504" y="41486"/>
                  </a:lnTo>
                  <a:lnTo>
                    <a:pt x="109940" y="39051"/>
                  </a:lnTo>
                  <a:lnTo>
                    <a:pt x="100221" y="29630"/>
                  </a:lnTo>
                  <a:lnTo>
                    <a:pt x="94907" y="26592"/>
                  </a:lnTo>
                  <a:lnTo>
                    <a:pt x="89579" y="25928"/>
                  </a:lnTo>
                  <a:lnTo>
                    <a:pt x="89598" y="28772"/>
                  </a:lnTo>
                  <a:lnTo>
                    <a:pt x="90561" y="30164"/>
                  </a:lnTo>
                  <a:lnTo>
                    <a:pt x="92432" y="34207"/>
                  </a:lnTo>
                  <a:lnTo>
                    <a:pt x="89615" y="31382"/>
                  </a:lnTo>
                  <a:lnTo>
                    <a:pt x="88127" y="34764"/>
                  </a:lnTo>
                  <a:lnTo>
                    <a:pt x="86719" y="35861"/>
                  </a:lnTo>
                  <a:lnTo>
                    <a:pt x="85126" y="35466"/>
                  </a:lnTo>
                  <a:lnTo>
                    <a:pt x="83091" y="34266"/>
                  </a:lnTo>
                  <a:lnTo>
                    <a:pt x="81723" y="32908"/>
                  </a:lnTo>
                  <a:lnTo>
                    <a:pt x="80709" y="30831"/>
                  </a:lnTo>
                  <a:lnTo>
                    <a:pt x="77849" y="22877"/>
                  </a:lnTo>
                  <a:lnTo>
                    <a:pt x="77440" y="20781"/>
                  </a:lnTo>
                  <a:lnTo>
                    <a:pt x="76793" y="18766"/>
                  </a:lnTo>
                  <a:lnTo>
                    <a:pt x="74974" y="15807"/>
                  </a:lnTo>
                  <a:lnTo>
                    <a:pt x="73109" y="14591"/>
                  </a:lnTo>
                  <a:lnTo>
                    <a:pt x="71491" y="14707"/>
                  </a:lnTo>
                  <a:lnTo>
                    <a:pt x="70249" y="14014"/>
                  </a:lnTo>
                  <a:lnTo>
                    <a:pt x="69507" y="10382"/>
                  </a:lnTo>
                  <a:lnTo>
                    <a:pt x="73562" y="10268"/>
                  </a:lnTo>
                  <a:lnTo>
                    <a:pt x="79800" y="11725"/>
                  </a:lnTo>
                  <a:lnTo>
                    <a:pt x="82943" y="10308"/>
                  </a:lnTo>
                  <a:lnTo>
                    <a:pt x="88318" y="2257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159">
              <a:extLst>
                <a:ext uri="{FF2B5EF4-FFF2-40B4-BE49-F238E27FC236}">
                  <a16:creationId xmlns:a16="http://schemas.microsoft.com/office/drawing/2014/main" id="{0C0D3E61-2D37-1DC4-00A0-B9FBA6718940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729779" y="2654268"/>
              <a:ext cx="1886081" cy="2018567"/>
            </a:xfrm>
            <a:custGeom>
              <a:avLst/>
              <a:gdLst/>
              <a:ahLst/>
              <a:cxnLst/>
              <a:rect l="l" t="t" r="r" b="b"/>
              <a:pathLst>
                <a:path w="771041" h="825202">
                  <a:moveTo>
                    <a:pt x="87762" y="605687"/>
                  </a:moveTo>
                  <a:lnTo>
                    <a:pt x="98318" y="613141"/>
                  </a:lnTo>
                  <a:lnTo>
                    <a:pt x="102668" y="618547"/>
                  </a:lnTo>
                  <a:lnTo>
                    <a:pt x="98594" y="621820"/>
                  </a:lnTo>
                  <a:lnTo>
                    <a:pt x="98477" y="624631"/>
                  </a:lnTo>
                  <a:lnTo>
                    <a:pt x="104018" y="624857"/>
                  </a:lnTo>
                  <a:lnTo>
                    <a:pt x="100636" y="638647"/>
                  </a:lnTo>
                  <a:lnTo>
                    <a:pt x="96295" y="646375"/>
                  </a:lnTo>
                  <a:lnTo>
                    <a:pt x="90405" y="649617"/>
                  </a:lnTo>
                  <a:lnTo>
                    <a:pt x="82405" y="650093"/>
                  </a:lnTo>
                  <a:lnTo>
                    <a:pt x="78765" y="647853"/>
                  </a:lnTo>
                  <a:lnTo>
                    <a:pt x="75750" y="638607"/>
                  </a:lnTo>
                  <a:lnTo>
                    <a:pt x="72894" y="636399"/>
                  </a:lnTo>
                  <a:lnTo>
                    <a:pt x="69817" y="634774"/>
                  </a:lnTo>
                  <a:lnTo>
                    <a:pt x="63591" y="627642"/>
                  </a:lnTo>
                  <a:lnTo>
                    <a:pt x="59792" y="625376"/>
                  </a:lnTo>
                  <a:lnTo>
                    <a:pt x="72940" y="611424"/>
                  </a:lnTo>
                  <a:lnTo>
                    <a:pt x="79604" y="606464"/>
                  </a:lnTo>
                  <a:close/>
                  <a:moveTo>
                    <a:pt x="43939" y="598342"/>
                  </a:moveTo>
                  <a:lnTo>
                    <a:pt x="46247" y="600625"/>
                  </a:lnTo>
                  <a:lnTo>
                    <a:pt x="51237" y="602169"/>
                  </a:lnTo>
                  <a:lnTo>
                    <a:pt x="53617" y="604221"/>
                  </a:lnTo>
                  <a:lnTo>
                    <a:pt x="48024" y="606991"/>
                  </a:lnTo>
                  <a:lnTo>
                    <a:pt x="41262" y="607872"/>
                  </a:lnTo>
                  <a:lnTo>
                    <a:pt x="34593" y="607258"/>
                  </a:lnTo>
                  <a:lnTo>
                    <a:pt x="29271" y="605740"/>
                  </a:lnTo>
                  <a:lnTo>
                    <a:pt x="32625" y="603123"/>
                  </a:lnTo>
                  <a:lnTo>
                    <a:pt x="39982" y="599191"/>
                  </a:lnTo>
                  <a:close/>
                  <a:moveTo>
                    <a:pt x="161178" y="506508"/>
                  </a:moveTo>
                  <a:lnTo>
                    <a:pt x="168187" y="508258"/>
                  </a:lnTo>
                  <a:lnTo>
                    <a:pt x="173423" y="513955"/>
                  </a:lnTo>
                  <a:lnTo>
                    <a:pt x="174012" y="519904"/>
                  </a:lnTo>
                  <a:lnTo>
                    <a:pt x="167067" y="522406"/>
                  </a:lnTo>
                  <a:lnTo>
                    <a:pt x="161734" y="519939"/>
                  </a:lnTo>
                  <a:lnTo>
                    <a:pt x="157189" y="514730"/>
                  </a:lnTo>
                  <a:lnTo>
                    <a:pt x="156129" y="509401"/>
                  </a:lnTo>
                  <a:close/>
                  <a:moveTo>
                    <a:pt x="159762" y="435515"/>
                  </a:moveTo>
                  <a:lnTo>
                    <a:pt x="161579" y="436096"/>
                  </a:lnTo>
                  <a:lnTo>
                    <a:pt x="163093" y="437179"/>
                  </a:lnTo>
                  <a:lnTo>
                    <a:pt x="164285" y="438810"/>
                  </a:lnTo>
                  <a:lnTo>
                    <a:pt x="165168" y="440912"/>
                  </a:lnTo>
                  <a:lnTo>
                    <a:pt x="164091" y="446690"/>
                  </a:lnTo>
                  <a:lnTo>
                    <a:pt x="160317" y="457797"/>
                  </a:lnTo>
                  <a:lnTo>
                    <a:pt x="156815" y="470907"/>
                  </a:lnTo>
                  <a:lnTo>
                    <a:pt x="156573" y="482597"/>
                  </a:lnTo>
                  <a:lnTo>
                    <a:pt x="158066" y="485483"/>
                  </a:lnTo>
                  <a:lnTo>
                    <a:pt x="160669" y="491880"/>
                  </a:lnTo>
                  <a:lnTo>
                    <a:pt x="161591" y="498185"/>
                  </a:lnTo>
                  <a:lnTo>
                    <a:pt x="157986" y="500929"/>
                  </a:lnTo>
                  <a:lnTo>
                    <a:pt x="154555" y="502154"/>
                  </a:lnTo>
                  <a:lnTo>
                    <a:pt x="151199" y="504502"/>
                  </a:lnTo>
                  <a:lnTo>
                    <a:pt x="147828" y="505667"/>
                  </a:lnTo>
                  <a:lnTo>
                    <a:pt x="144384" y="503263"/>
                  </a:lnTo>
                  <a:lnTo>
                    <a:pt x="145043" y="500535"/>
                  </a:lnTo>
                  <a:lnTo>
                    <a:pt x="145422" y="499429"/>
                  </a:lnTo>
                  <a:lnTo>
                    <a:pt x="146137" y="497885"/>
                  </a:lnTo>
                  <a:lnTo>
                    <a:pt x="143998" y="494567"/>
                  </a:lnTo>
                  <a:lnTo>
                    <a:pt x="143893" y="488169"/>
                  </a:lnTo>
                  <a:lnTo>
                    <a:pt x="146502" y="463672"/>
                  </a:lnTo>
                  <a:lnTo>
                    <a:pt x="148277" y="457392"/>
                  </a:lnTo>
                  <a:lnTo>
                    <a:pt x="151703" y="454488"/>
                  </a:lnTo>
                  <a:lnTo>
                    <a:pt x="157658" y="453950"/>
                  </a:lnTo>
                  <a:lnTo>
                    <a:pt x="157757" y="451355"/>
                  </a:lnTo>
                  <a:lnTo>
                    <a:pt x="156405" y="449484"/>
                  </a:lnTo>
                  <a:lnTo>
                    <a:pt x="155361" y="447454"/>
                  </a:lnTo>
                  <a:lnTo>
                    <a:pt x="153861" y="443368"/>
                  </a:lnTo>
                  <a:lnTo>
                    <a:pt x="156258" y="441047"/>
                  </a:lnTo>
                  <a:lnTo>
                    <a:pt x="158320" y="440922"/>
                  </a:lnTo>
                  <a:lnTo>
                    <a:pt x="162380" y="443686"/>
                  </a:lnTo>
                  <a:lnTo>
                    <a:pt x="162488" y="440813"/>
                  </a:lnTo>
                  <a:close/>
                  <a:moveTo>
                    <a:pt x="170534" y="410587"/>
                  </a:moveTo>
                  <a:lnTo>
                    <a:pt x="171841" y="412471"/>
                  </a:lnTo>
                  <a:lnTo>
                    <a:pt x="168667" y="427102"/>
                  </a:lnTo>
                  <a:lnTo>
                    <a:pt x="168389" y="433220"/>
                  </a:lnTo>
                  <a:lnTo>
                    <a:pt x="165282" y="431395"/>
                  </a:lnTo>
                  <a:lnTo>
                    <a:pt x="164149" y="427309"/>
                  </a:lnTo>
                  <a:lnTo>
                    <a:pt x="164890" y="422233"/>
                  </a:lnTo>
                  <a:lnTo>
                    <a:pt x="167446" y="417537"/>
                  </a:lnTo>
                  <a:lnTo>
                    <a:pt x="166583" y="416493"/>
                  </a:lnTo>
                  <a:lnTo>
                    <a:pt x="166539" y="416118"/>
                  </a:lnTo>
                  <a:lnTo>
                    <a:pt x="166152" y="414626"/>
                  </a:lnTo>
                  <a:lnTo>
                    <a:pt x="167638" y="412378"/>
                  </a:lnTo>
                  <a:lnTo>
                    <a:pt x="169140" y="410816"/>
                  </a:lnTo>
                  <a:close/>
                  <a:moveTo>
                    <a:pt x="101102" y="359876"/>
                  </a:moveTo>
                  <a:lnTo>
                    <a:pt x="102702" y="363942"/>
                  </a:lnTo>
                  <a:lnTo>
                    <a:pt x="104419" y="366440"/>
                  </a:lnTo>
                  <a:lnTo>
                    <a:pt x="109036" y="370645"/>
                  </a:lnTo>
                  <a:lnTo>
                    <a:pt x="110846" y="373347"/>
                  </a:lnTo>
                  <a:lnTo>
                    <a:pt x="115479" y="382125"/>
                  </a:lnTo>
                  <a:lnTo>
                    <a:pt x="116102" y="383970"/>
                  </a:lnTo>
                  <a:lnTo>
                    <a:pt x="124917" y="392166"/>
                  </a:lnTo>
                  <a:lnTo>
                    <a:pt x="128624" y="397401"/>
                  </a:lnTo>
                  <a:lnTo>
                    <a:pt x="130622" y="401213"/>
                  </a:lnTo>
                  <a:lnTo>
                    <a:pt x="131412" y="404418"/>
                  </a:lnTo>
                  <a:lnTo>
                    <a:pt x="132237" y="431041"/>
                  </a:lnTo>
                  <a:lnTo>
                    <a:pt x="133744" y="442550"/>
                  </a:lnTo>
                  <a:lnTo>
                    <a:pt x="133895" y="447829"/>
                  </a:lnTo>
                  <a:lnTo>
                    <a:pt x="133117" y="453510"/>
                  </a:lnTo>
                  <a:lnTo>
                    <a:pt x="130917" y="462105"/>
                  </a:lnTo>
                  <a:lnTo>
                    <a:pt x="130327" y="467247"/>
                  </a:lnTo>
                  <a:lnTo>
                    <a:pt x="129074" y="470091"/>
                  </a:lnTo>
                  <a:lnTo>
                    <a:pt x="123436" y="475222"/>
                  </a:lnTo>
                  <a:lnTo>
                    <a:pt x="121420" y="478657"/>
                  </a:lnTo>
                  <a:lnTo>
                    <a:pt x="124014" y="476286"/>
                  </a:lnTo>
                  <a:lnTo>
                    <a:pt x="127530" y="473921"/>
                  </a:lnTo>
                  <a:lnTo>
                    <a:pt x="131214" y="472759"/>
                  </a:lnTo>
                  <a:lnTo>
                    <a:pt x="134269" y="473935"/>
                  </a:lnTo>
                  <a:lnTo>
                    <a:pt x="135889" y="477919"/>
                  </a:lnTo>
                  <a:lnTo>
                    <a:pt x="134590" y="481509"/>
                  </a:lnTo>
                  <a:lnTo>
                    <a:pt x="132289" y="484563"/>
                  </a:lnTo>
                  <a:lnTo>
                    <a:pt x="130957" y="486845"/>
                  </a:lnTo>
                  <a:lnTo>
                    <a:pt x="131711" y="493206"/>
                  </a:lnTo>
                  <a:lnTo>
                    <a:pt x="134540" y="497253"/>
                  </a:lnTo>
                  <a:lnTo>
                    <a:pt x="137532" y="500200"/>
                  </a:lnTo>
                  <a:lnTo>
                    <a:pt x="138756" y="503048"/>
                  </a:lnTo>
                  <a:lnTo>
                    <a:pt x="137105" y="506376"/>
                  </a:lnTo>
                  <a:lnTo>
                    <a:pt x="129992" y="510315"/>
                  </a:lnTo>
                  <a:lnTo>
                    <a:pt x="127085" y="512815"/>
                  </a:lnTo>
                  <a:lnTo>
                    <a:pt x="144853" y="511122"/>
                  </a:lnTo>
                  <a:lnTo>
                    <a:pt x="149501" y="512652"/>
                  </a:lnTo>
                  <a:lnTo>
                    <a:pt x="150271" y="515808"/>
                  </a:lnTo>
                  <a:lnTo>
                    <a:pt x="147703" y="519197"/>
                  </a:lnTo>
                  <a:lnTo>
                    <a:pt x="142401" y="521484"/>
                  </a:lnTo>
                  <a:lnTo>
                    <a:pt x="142300" y="524094"/>
                  </a:lnTo>
                  <a:lnTo>
                    <a:pt x="147951" y="523702"/>
                  </a:lnTo>
                  <a:lnTo>
                    <a:pt x="152575" y="521542"/>
                  </a:lnTo>
                  <a:lnTo>
                    <a:pt x="156812" y="521157"/>
                  </a:lnTo>
                  <a:lnTo>
                    <a:pt x="161219" y="526081"/>
                  </a:lnTo>
                  <a:lnTo>
                    <a:pt x="163137" y="527675"/>
                  </a:lnTo>
                  <a:lnTo>
                    <a:pt x="165855" y="528102"/>
                  </a:lnTo>
                  <a:lnTo>
                    <a:pt x="171101" y="527749"/>
                  </a:lnTo>
                  <a:lnTo>
                    <a:pt x="174121" y="529382"/>
                  </a:lnTo>
                  <a:lnTo>
                    <a:pt x="175945" y="532901"/>
                  </a:lnTo>
                  <a:lnTo>
                    <a:pt x="177193" y="536539"/>
                  </a:lnTo>
                  <a:lnTo>
                    <a:pt x="178462" y="538717"/>
                  </a:lnTo>
                  <a:lnTo>
                    <a:pt x="181427" y="539133"/>
                  </a:lnTo>
                  <a:lnTo>
                    <a:pt x="183333" y="537396"/>
                  </a:lnTo>
                  <a:lnTo>
                    <a:pt x="184657" y="534984"/>
                  </a:lnTo>
                  <a:lnTo>
                    <a:pt x="185845" y="533532"/>
                  </a:lnTo>
                  <a:lnTo>
                    <a:pt x="194405" y="534204"/>
                  </a:lnTo>
                  <a:lnTo>
                    <a:pt x="200504" y="528440"/>
                  </a:lnTo>
                  <a:lnTo>
                    <a:pt x="206342" y="526492"/>
                  </a:lnTo>
                  <a:lnTo>
                    <a:pt x="212406" y="526742"/>
                  </a:lnTo>
                  <a:lnTo>
                    <a:pt x="215689" y="531689"/>
                  </a:lnTo>
                  <a:lnTo>
                    <a:pt x="231069" y="532190"/>
                  </a:lnTo>
                  <a:lnTo>
                    <a:pt x="227347" y="541558"/>
                  </a:lnTo>
                  <a:lnTo>
                    <a:pt x="227350" y="544047"/>
                  </a:lnTo>
                  <a:lnTo>
                    <a:pt x="228123" y="548209"/>
                  </a:lnTo>
                  <a:lnTo>
                    <a:pt x="227202" y="551912"/>
                  </a:lnTo>
                  <a:lnTo>
                    <a:pt x="225511" y="554938"/>
                  </a:lnTo>
                  <a:lnTo>
                    <a:pt x="221127" y="560582"/>
                  </a:lnTo>
                  <a:lnTo>
                    <a:pt x="213384" y="566720"/>
                  </a:lnTo>
                  <a:lnTo>
                    <a:pt x="210211" y="568280"/>
                  </a:lnTo>
                  <a:lnTo>
                    <a:pt x="201958" y="568842"/>
                  </a:lnTo>
                  <a:lnTo>
                    <a:pt x="200436" y="571372"/>
                  </a:lnTo>
                  <a:lnTo>
                    <a:pt x="199775" y="579796"/>
                  </a:lnTo>
                  <a:lnTo>
                    <a:pt x="197604" y="584949"/>
                  </a:lnTo>
                  <a:lnTo>
                    <a:pt x="193110" y="588341"/>
                  </a:lnTo>
                  <a:lnTo>
                    <a:pt x="188627" y="590659"/>
                  </a:lnTo>
                  <a:lnTo>
                    <a:pt x="186576" y="592501"/>
                  </a:lnTo>
                  <a:lnTo>
                    <a:pt x="184835" y="595350"/>
                  </a:lnTo>
                  <a:lnTo>
                    <a:pt x="172017" y="612194"/>
                  </a:lnTo>
                  <a:lnTo>
                    <a:pt x="168554" y="615476"/>
                  </a:lnTo>
                  <a:lnTo>
                    <a:pt x="164608" y="618040"/>
                  </a:lnTo>
                  <a:lnTo>
                    <a:pt x="153449" y="619823"/>
                  </a:lnTo>
                  <a:lnTo>
                    <a:pt x="150574" y="618379"/>
                  </a:lnTo>
                  <a:lnTo>
                    <a:pt x="148775" y="613333"/>
                  </a:lnTo>
                  <a:lnTo>
                    <a:pt x="149676" y="606770"/>
                  </a:lnTo>
                  <a:lnTo>
                    <a:pt x="155598" y="598666"/>
                  </a:lnTo>
                  <a:lnTo>
                    <a:pt x="155141" y="595289"/>
                  </a:lnTo>
                  <a:lnTo>
                    <a:pt x="155240" y="592679"/>
                  </a:lnTo>
                  <a:lnTo>
                    <a:pt x="156512" y="591886"/>
                  </a:lnTo>
                  <a:lnTo>
                    <a:pt x="157143" y="590836"/>
                  </a:lnTo>
                  <a:lnTo>
                    <a:pt x="158153" y="587326"/>
                  </a:lnTo>
                  <a:lnTo>
                    <a:pt x="158848" y="585671"/>
                  </a:lnTo>
                  <a:lnTo>
                    <a:pt x="160335" y="583859"/>
                  </a:lnTo>
                  <a:lnTo>
                    <a:pt x="164392" y="576727"/>
                  </a:lnTo>
                  <a:lnTo>
                    <a:pt x="166357" y="574248"/>
                  </a:lnTo>
                  <a:lnTo>
                    <a:pt x="168767" y="572064"/>
                  </a:lnTo>
                  <a:lnTo>
                    <a:pt x="189052" y="562579"/>
                  </a:lnTo>
                  <a:lnTo>
                    <a:pt x="189144" y="559969"/>
                  </a:lnTo>
                  <a:lnTo>
                    <a:pt x="183322" y="562939"/>
                  </a:lnTo>
                  <a:lnTo>
                    <a:pt x="177482" y="564444"/>
                  </a:lnTo>
                  <a:lnTo>
                    <a:pt x="159796" y="564143"/>
                  </a:lnTo>
                  <a:lnTo>
                    <a:pt x="158704" y="563123"/>
                  </a:lnTo>
                  <a:lnTo>
                    <a:pt x="158503" y="560829"/>
                  </a:lnTo>
                  <a:lnTo>
                    <a:pt x="158553" y="558155"/>
                  </a:lnTo>
                  <a:lnTo>
                    <a:pt x="158161" y="556009"/>
                  </a:lnTo>
                  <a:lnTo>
                    <a:pt x="153577" y="547484"/>
                  </a:lnTo>
                  <a:lnTo>
                    <a:pt x="151031" y="543981"/>
                  </a:lnTo>
                  <a:lnTo>
                    <a:pt x="148642" y="542584"/>
                  </a:lnTo>
                  <a:lnTo>
                    <a:pt x="149363" y="546641"/>
                  </a:lnTo>
                  <a:lnTo>
                    <a:pt x="150157" y="549689"/>
                  </a:lnTo>
                  <a:lnTo>
                    <a:pt x="152386" y="555794"/>
                  </a:lnTo>
                  <a:lnTo>
                    <a:pt x="149984" y="561305"/>
                  </a:lnTo>
                  <a:lnTo>
                    <a:pt x="148485" y="563908"/>
                  </a:lnTo>
                  <a:lnTo>
                    <a:pt x="146329" y="566006"/>
                  </a:lnTo>
                  <a:lnTo>
                    <a:pt x="147637" y="568887"/>
                  </a:lnTo>
                  <a:lnTo>
                    <a:pt x="144981" y="571897"/>
                  </a:lnTo>
                  <a:lnTo>
                    <a:pt x="143089" y="576089"/>
                  </a:lnTo>
                  <a:lnTo>
                    <a:pt x="141029" y="579822"/>
                  </a:lnTo>
                  <a:lnTo>
                    <a:pt x="137903" y="581368"/>
                  </a:lnTo>
                  <a:lnTo>
                    <a:pt x="135362" y="578298"/>
                  </a:lnTo>
                  <a:lnTo>
                    <a:pt x="134440" y="571448"/>
                  </a:lnTo>
                  <a:lnTo>
                    <a:pt x="133908" y="563679"/>
                  </a:lnTo>
                  <a:lnTo>
                    <a:pt x="133779" y="557932"/>
                  </a:lnTo>
                  <a:lnTo>
                    <a:pt x="132195" y="555771"/>
                  </a:lnTo>
                  <a:lnTo>
                    <a:pt x="131080" y="555183"/>
                  </a:lnTo>
                  <a:lnTo>
                    <a:pt x="129887" y="555914"/>
                  </a:lnTo>
                  <a:lnTo>
                    <a:pt x="128147" y="557713"/>
                  </a:lnTo>
                  <a:lnTo>
                    <a:pt x="126725" y="555277"/>
                  </a:lnTo>
                  <a:lnTo>
                    <a:pt x="125108" y="553549"/>
                  </a:lnTo>
                  <a:lnTo>
                    <a:pt x="123311" y="552529"/>
                  </a:lnTo>
                  <a:lnTo>
                    <a:pt x="121283" y="552215"/>
                  </a:lnTo>
                  <a:lnTo>
                    <a:pt x="121188" y="554592"/>
                  </a:lnTo>
                  <a:lnTo>
                    <a:pt x="124062" y="557802"/>
                  </a:lnTo>
                  <a:lnTo>
                    <a:pt x="120376" y="560114"/>
                  </a:lnTo>
                  <a:lnTo>
                    <a:pt x="90831" y="566632"/>
                  </a:lnTo>
                  <a:lnTo>
                    <a:pt x="90950" y="563805"/>
                  </a:lnTo>
                  <a:lnTo>
                    <a:pt x="93388" y="561820"/>
                  </a:lnTo>
                  <a:lnTo>
                    <a:pt x="100001" y="553737"/>
                  </a:lnTo>
                  <a:lnTo>
                    <a:pt x="100100" y="551361"/>
                  </a:lnTo>
                  <a:lnTo>
                    <a:pt x="96261" y="551048"/>
                  </a:lnTo>
                  <a:lnTo>
                    <a:pt x="92543" y="551842"/>
                  </a:lnTo>
                  <a:lnTo>
                    <a:pt x="88971" y="553560"/>
                  </a:lnTo>
                  <a:lnTo>
                    <a:pt x="85630" y="555988"/>
                  </a:lnTo>
                  <a:lnTo>
                    <a:pt x="81939" y="549623"/>
                  </a:lnTo>
                  <a:lnTo>
                    <a:pt x="79131" y="542408"/>
                  </a:lnTo>
                  <a:lnTo>
                    <a:pt x="81430" y="541478"/>
                  </a:lnTo>
                  <a:lnTo>
                    <a:pt x="83432" y="540162"/>
                  </a:lnTo>
                  <a:lnTo>
                    <a:pt x="85126" y="538180"/>
                  </a:lnTo>
                  <a:lnTo>
                    <a:pt x="86519" y="535143"/>
                  </a:lnTo>
                  <a:lnTo>
                    <a:pt x="77015" y="535642"/>
                  </a:lnTo>
                  <a:lnTo>
                    <a:pt x="73598" y="534421"/>
                  </a:lnTo>
                  <a:lnTo>
                    <a:pt x="64410" y="520904"/>
                  </a:lnTo>
                  <a:lnTo>
                    <a:pt x="63946" y="519609"/>
                  </a:lnTo>
                  <a:lnTo>
                    <a:pt x="63082" y="515960"/>
                  </a:lnTo>
                  <a:lnTo>
                    <a:pt x="62516" y="514285"/>
                  </a:lnTo>
                  <a:lnTo>
                    <a:pt x="61532" y="512608"/>
                  </a:lnTo>
                  <a:lnTo>
                    <a:pt x="60666" y="511653"/>
                  </a:lnTo>
                  <a:lnTo>
                    <a:pt x="59984" y="510346"/>
                  </a:lnTo>
                  <a:lnTo>
                    <a:pt x="59484" y="507616"/>
                  </a:lnTo>
                  <a:lnTo>
                    <a:pt x="69265" y="501197"/>
                  </a:lnTo>
                  <a:lnTo>
                    <a:pt x="73421" y="499540"/>
                  </a:lnTo>
                  <a:lnTo>
                    <a:pt x="77996" y="500577"/>
                  </a:lnTo>
                  <a:lnTo>
                    <a:pt x="81503" y="503994"/>
                  </a:lnTo>
                  <a:lnTo>
                    <a:pt x="84981" y="508717"/>
                  </a:lnTo>
                  <a:lnTo>
                    <a:pt x="89118" y="512844"/>
                  </a:lnTo>
                  <a:lnTo>
                    <a:pt x="94578" y="514348"/>
                  </a:lnTo>
                  <a:lnTo>
                    <a:pt x="92115" y="509173"/>
                  </a:lnTo>
                  <a:lnTo>
                    <a:pt x="79654" y="497800"/>
                  </a:lnTo>
                  <a:lnTo>
                    <a:pt x="77131" y="494378"/>
                  </a:lnTo>
                  <a:lnTo>
                    <a:pt x="75817" y="493139"/>
                  </a:lnTo>
                  <a:lnTo>
                    <a:pt x="73474" y="492572"/>
                  </a:lnTo>
                  <a:lnTo>
                    <a:pt x="71148" y="492953"/>
                  </a:lnTo>
                  <a:lnTo>
                    <a:pt x="66588" y="494669"/>
                  </a:lnTo>
                  <a:lnTo>
                    <a:pt x="64033" y="494526"/>
                  </a:lnTo>
                  <a:lnTo>
                    <a:pt x="67088" y="492295"/>
                  </a:lnTo>
                  <a:lnTo>
                    <a:pt x="67214" y="489437"/>
                  </a:lnTo>
                  <a:lnTo>
                    <a:pt x="65587" y="489023"/>
                  </a:lnTo>
                  <a:lnTo>
                    <a:pt x="61708" y="486581"/>
                  </a:lnTo>
                  <a:lnTo>
                    <a:pt x="63216" y="486087"/>
                  </a:lnTo>
                  <a:lnTo>
                    <a:pt x="63844" y="485554"/>
                  </a:lnTo>
                  <a:lnTo>
                    <a:pt x="64496" y="484089"/>
                  </a:lnTo>
                  <a:lnTo>
                    <a:pt x="62647" y="483012"/>
                  </a:lnTo>
                  <a:lnTo>
                    <a:pt x="61357" y="480901"/>
                  </a:lnTo>
                  <a:lnTo>
                    <a:pt x="61095" y="477761"/>
                  </a:lnTo>
                  <a:lnTo>
                    <a:pt x="62289" y="473565"/>
                  </a:lnTo>
                  <a:lnTo>
                    <a:pt x="59188" y="474269"/>
                  </a:lnTo>
                  <a:lnTo>
                    <a:pt x="54889" y="479214"/>
                  </a:lnTo>
                  <a:lnTo>
                    <a:pt x="52093" y="480926"/>
                  </a:lnTo>
                  <a:lnTo>
                    <a:pt x="53291" y="477618"/>
                  </a:lnTo>
                  <a:lnTo>
                    <a:pt x="53670" y="474071"/>
                  </a:lnTo>
                  <a:lnTo>
                    <a:pt x="53089" y="470606"/>
                  </a:lnTo>
                  <a:lnTo>
                    <a:pt x="51288" y="467615"/>
                  </a:lnTo>
                  <a:lnTo>
                    <a:pt x="49353" y="472555"/>
                  </a:lnTo>
                  <a:lnTo>
                    <a:pt x="46917" y="474095"/>
                  </a:lnTo>
                  <a:lnTo>
                    <a:pt x="44462" y="474964"/>
                  </a:lnTo>
                  <a:lnTo>
                    <a:pt x="42391" y="477875"/>
                  </a:lnTo>
                  <a:lnTo>
                    <a:pt x="41854" y="482239"/>
                  </a:lnTo>
                  <a:lnTo>
                    <a:pt x="43804" y="489315"/>
                  </a:lnTo>
                  <a:lnTo>
                    <a:pt x="43196" y="493599"/>
                  </a:lnTo>
                  <a:lnTo>
                    <a:pt x="39673" y="496411"/>
                  </a:lnTo>
                  <a:lnTo>
                    <a:pt x="21047" y="489000"/>
                  </a:lnTo>
                  <a:lnTo>
                    <a:pt x="16367" y="485542"/>
                  </a:lnTo>
                  <a:lnTo>
                    <a:pt x="12721" y="480701"/>
                  </a:lnTo>
                  <a:lnTo>
                    <a:pt x="11411" y="475159"/>
                  </a:lnTo>
                  <a:lnTo>
                    <a:pt x="9982" y="465130"/>
                  </a:lnTo>
                  <a:lnTo>
                    <a:pt x="1771" y="458199"/>
                  </a:lnTo>
                  <a:lnTo>
                    <a:pt x="0" y="449552"/>
                  </a:lnTo>
                  <a:lnTo>
                    <a:pt x="12616" y="450158"/>
                  </a:lnTo>
                  <a:lnTo>
                    <a:pt x="9920" y="446698"/>
                  </a:lnTo>
                  <a:lnTo>
                    <a:pt x="8290" y="442511"/>
                  </a:lnTo>
                  <a:lnTo>
                    <a:pt x="8121" y="437896"/>
                  </a:lnTo>
                  <a:lnTo>
                    <a:pt x="9874" y="433154"/>
                  </a:lnTo>
                  <a:lnTo>
                    <a:pt x="12828" y="429139"/>
                  </a:lnTo>
                  <a:lnTo>
                    <a:pt x="15007" y="428169"/>
                  </a:lnTo>
                  <a:lnTo>
                    <a:pt x="16890" y="429519"/>
                  </a:lnTo>
                  <a:lnTo>
                    <a:pt x="26975" y="446148"/>
                  </a:lnTo>
                  <a:lnTo>
                    <a:pt x="28088" y="449701"/>
                  </a:lnTo>
                  <a:lnTo>
                    <a:pt x="29872" y="452182"/>
                  </a:lnTo>
                  <a:lnTo>
                    <a:pt x="33444" y="455319"/>
                  </a:lnTo>
                  <a:lnTo>
                    <a:pt x="36132" y="456049"/>
                  </a:lnTo>
                  <a:lnTo>
                    <a:pt x="35177" y="451212"/>
                  </a:lnTo>
                  <a:lnTo>
                    <a:pt x="35287" y="448852"/>
                  </a:lnTo>
                  <a:lnTo>
                    <a:pt x="36199" y="448147"/>
                  </a:lnTo>
                  <a:lnTo>
                    <a:pt x="37099" y="446974"/>
                  </a:lnTo>
                  <a:lnTo>
                    <a:pt x="38089" y="446381"/>
                  </a:lnTo>
                  <a:lnTo>
                    <a:pt x="34760" y="441839"/>
                  </a:lnTo>
                  <a:lnTo>
                    <a:pt x="34248" y="440975"/>
                  </a:lnTo>
                  <a:lnTo>
                    <a:pt x="33723" y="439690"/>
                  </a:lnTo>
                  <a:lnTo>
                    <a:pt x="31998" y="436856"/>
                  </a:lnTo>
                  <a:lnTo>
                    <a:pt x="31700" y="435364"/>
                  </a:lnTo>
                  <a:lnTo>
                    <a:pt x="32278" y="433741"/>
                  </a:lnTo>
                  <a:lnTo>
                    <a:pt x="34202" y="433036"/>
                  </a:lnTo>
                  <a:lnTo>
                    <a:pt x="34680" y="431736"/>
                  </a:lnTo>
                  <a:lnTo>
                    <a:pt x="36394" y="429947"/>
                  </a:lnTo>
                  <a:lnTo>
                    <a:pt x="40027" y="430580"/>
                  </a:lnTo>
                  <a:lnTo>
                    <a:pt x="45947" y="433666"/>
                  </a:lnTo>
                  <a:lnTo>
                    <a:pt x="44246" y="426664"/>
                  </a:lnTo>
                  <a:lnTo>
                    <a:pt x="39322" y="420384"/>
                  </a:lnTo>
                  <a:lnTo>
                    <a:pt x="33266" y="415904"/>
                  </a:lnTo>
                  <a:lnTo>
                    <a:pt x="28228" y="414316"/>
                  </a:lnTo>
                  <a:lnTo>
                    <a:pt x="31106" y="410668"/>
                  </a:lnTo>
                  <a:lnTo>
                    <a:pt x="33539" y="405100"/>
                  </a:lnTo>
                  <a:lnTo>
                    <a:pt x="34229" y="399654"/>
                  </a:lnTo>
                  <a:lnTo>
                    <a:pt x="32020" y="396236"/>
                  </a:lnTo>
                  <a:lnTo>
                    <a:pt x="32155" y="393364"/>
                  </a:lnTo>
                  <a:lnTo>
                    <a:pt x="36380" y="393622"/>
                  </a:lnTo>
                  <a:lnTo>
                    <a:pt x="39140" y="396658"/>
                  </a:lnTo>
                  <a:lnTo>
                    <a:pt x="41295" y="400212"/>
                  </a:lnTo>
                  <a:lnTo>
                    <a:pt x="45666" y="403478"/>
                  </a:lnTo>
                  <a:lnTo>
                    <a:pt x="46304" y="406649"/>
                  </a:lnTo>
                  <a:lnTo>
                    <a:pt x="46459" y="410174"/>
                  </a:lnTo>
                  <a:lnTo>
                    <a:pt x="46916" y="412592"/>
                  </a:lnTo>
                  <a:lnTo>
                    <a:pt x="48755" y="415103"/>
                  </a:lnTo>
                  <a:lnTo>
                    <a:pt x="50104" y="416284"/>
                  </a:lnTo>
                  <a:lnTo>
                    <a:pt x="59399" y="422053"/>
                  </a:lnTo>
                  <a:lnTo>
                    <a:pt x="61527" y="424170"/>
                  </a:lnTo>
                  <a:lnTo>
                    <a:pt x="63687" y="427814"/>
                  </a:lnTo>
                  <a:lnTo>
                    <a:pt x="66446" y="431171"/>
                  </a:lnTo>
                  <a:lnTo>
                    <a:pt x="69180" y="430980"/>
                  </a:lnTo>
                  <a:lnTo>
                    <a:pt x="72117" y="429614"/>
                  </a:lnTo>
                  <a:lnTo>
                    <a:pt x="75590" y="429514"/>
                  </a:lnTo>
                  <a:lnTo>
                    <a:pt x="70432" y="440682"/>
                  </a:lnTo>
                  <a:lnTo>
                    <a:pt x="72450" y="441392"/>
                  </a:lnTo>
                  <a:lnTo>
                    <a:pt x="77091" y="435898"/>
                  </a:lnTo>
                  <a:lnTo>
                    <a:pt x="79846" y="428516"/>
                  </a:lnTo>
                  <a:lnTo>
                    <a:pt x="82513" y="430045"/>
                  </a:lnTo>
                  <a:lnTo>
                    <a:pt x="97227" y="451564"/>
                  </a:lnTo>
                  <a:lnTo>
                    <a:pt x="97336" y="448969"/>
                  </a:lnTo>
                  <a:lnTo>
                    <a:pt x="96388" y="447639"/>
                  </a:lnTo>
                  <a:lnTo>
                    <a:pt x="95433" y="445109"/>
                  </a:lnTo>
                  <a:lnTo>
                    <a:pt x="94625" y="443628"/>
                  </a:lnTo>
                  <a:lnTo>
                    <a:pt x="94965" y="438399"/>
                  </a:lnTo>
                  <a:lnTo>
                    <a:pt x="92315" y="433448"/>
                  </a:lnTo>
                  <a:lnTo>
                    <a:pt x="85619" y="424716"/>
                  </a:lnTo>
                  <a:lnTo>
                    <a:pt x="82562" y="416588"/>
                  </a:lnTo>
                  <a:lnTo>
                    <a:pt x="83489" y="412737"/>
                  </a:lnTo>
                  <a:lnTo>
                    <a:pt x="86403" y="409064"/>
                  </a:lnTo>
                  <a:lnTo>
                    <a:pt x="89311" y="401392"/>
                  </a:lnTo>
                  <a:lnTo>
                    <a:pt x="86820" y="401707"/>
                  </a:lnTo>
                  <a:lnTo>
                    <a:pt x="84498" y="401203"/>
                  </a:lnTo>
                  <a:lnTo>
                    <a:pt x="82545" y="400077"/>
                  </a:lnTo>
                  <a:lnTo>
                    <a:pt x="81157" y="398430"/>
                  </a:lnTo>
                  <a:lnTo>
                    <a:pt x="82283" y="393250"/>
                  </a:lnTo>
                  <a:lnTo>
                    <a:pt x="81344" y="390129"/>
                  </a:lnTo>
                  <a:lnTo>
                    <a:pt x="79719" y="387834"/>
                  </a:lnTo>
                  <a:lnTo>
                    <a:pt x="78806" y="385258"/>
                  </a:lnTo>
                  <a:lnTo>
                    <a:pt x="78772" y="380729"/>
                  </a:lnTo>
                  <a:lnTo>
                    <a:pt x="79286" y="379444"/>
                  </a:lnTo>
                  <a:lnTo>
                    <a:pt x="80701" y="379084"/>
                  </a:lnTo>
                  <a:lnTo>
                    <a:pt x="89110" y="374122"/>
                  </a:lnTo>
                  <a:lnTo>
                    <a:pt x="90545" y="372705"/>
                  </a:lnTo>
                  <a:lnTo>
                    <a:pt x="92511" y="368198"/>
                  </a:lnTo>
                  <a:lnTo>
                    <a:pt x="93913" y="363636"/>
                  </a:lnTo>
                  <a:lnTo>
                    <a:pt x="95521" y="361043"/>
                  </a:lnTo>
                  <a:lnTo>
                    <a:pt x="98077" y="362363"/>
                  </a:lnTo>
                  <a:lnTo>
                    <a:pt x="99674" y="361777"/>
                  </a:lnTo>
                  <a:lnTo>
                    <a:pt x="100354" y="361245"/>
                  </a:lnTo>
                  <a:close/>
                  <a:moveTo>
                    <a:pt x="700252" y="0"/>
                  </a:moveTo>
                  <a:lnTo>
                    <a:pt x="703552" y="603"/>
                  </a:lnTo>
                  <a:lnTo>
                    <a:pt x="704330" y="2639"/>
                  </a:lnTo>
                  <a:lnTo>
                    <a:pt x="704844" y="6196"/>
                  </a:lnTo>
                  <a:lnTo>
                    <a:pt x="705624" y="9552"/>
                  </a:lnTo>
                  <a:lnTo>
                    <a:pt x="707083" y="11042"/>
                  </a:lnTo>
                  <a:lnTo>
                    <a:pt x="713185" y="11034"/>
                  </a:lnTo>
                  <a:lnTo>
                    <a:pt x="726229" y="6856"/>
                  </a:lnTo>
                  <a:lnTo>
                    <a:pt x="734213" y="6026"/>
                  </a:lnTo>
                  <a:lnTo>
                    <a:pt x="744616" y="13572"/>
                  </a:lnTo>
                  <a:lnTo>
                    <a:pt x="751214" y="13607"/>
                  </a:lnTo>
                  <a:lnTo>
                    <a:pt x="764305" y="10854"/>
                  </a:lnTo>
                  <a:lnTo>
                    <a:pt x="771041" y="13800"/>
                  </a:lnTo>
                  <a:lnTo>
                    <a:pt x="769835" y="20754"/>
                  </a:lnTo>
                  <a:lnTo>
                    <a:pt x="766089" y="28607"/>
                  </a:lnTo>
                  <a:lnTo>
                    <a:pt x="765172" y="34300"/>
                  </a:lnTo>
                  <a:lnTo>
                    <a:pt x="762944" y="37483"/>
                  </a:lnTo>
                  <a:lnTo>
                    <a:pt x="759995" y="44398"/>
                  </a:lnTo>
                  <a:lnTo>
                    <a:pt x="758193" y="47624"/>
                  </a:lnTo>
                  <a:lnTo>
                    <a:pt x="752990" y="52731"/>
                  </a:lnTo>
                  <a:lnTo>
                    <a:pt x="751548" y="55255"/>
                  </a:lnTo>
                  <a:lnTo>
                    <a:pt x="749340" y="62678"/>
                  </a:lnTo>
                  <a:lnTo>
                    <a:pt x="749359" y="68879"/>
                  </a:lnTo>
                  <a:lnTo>
                    <a:pt x="751493" y="73439"/>
                  </a:lnTo>
                  <a:lnTo>
                    <a:pt x="755742" y="76077"/>
                  </a:lnTo>
                  <a:lnTo>
                    <a:pt x="758229" y="75770"/>
                  </a:lnTo>
                  <a:lnTo>
                    <a:pt x="760443" y="74454"/>
                  </a:lnTo>
                  <a:lnTo>
                    <a:pt x="762343" y="73946"/>
                  </a:lnTo>
                  <a:lnTo>
                    <a:pt x="763915" y="76036"/>
                  </a:lnTo>
                  <a:lnTo>
                    <a:pt x="764598" y="80508"/>
                  </a:lnTo>
                  <a:lnTo>
                    <a:pt x="763738" y="83916"/>
                  </a:lnTo>
                  <a:lnTo>
                    <a:pt x="761944" y="86102"/>
                  </a:lnTo>
                  <a:lnTo>
                    <a:pt x="759887" y="86733"/>
                  </a:lnTo>
                  <a:lnTo>
                    <a:pt x="758099" y="100233"/>
                  </a:lnTo>
                  <a:lnTo>
                    <a:pt x="749472" y="117431"/>
                  </a:lnTo>
                  <a:lnTo>
                    <a:pt x="738907" y="133075"/>
                  </a:lnTo>
                  <a:lnTo>
                    <a:pt x="731354" y="141835"/>
                  </a:lnTo>
                  <a:lnTo>
                    <a:pt x="722981" y="146800"/>
                  </a:lnTo>
                  <a:lnTo>
                    <a:pt x="705395" y="153140"/>
                  </a:lnTo>
                  <a:lnTo>
                    <a:pt x="698330" y="157544"/>
                  </a:lnTo>
                  <a:lnTo>
                    <a:pt x="687651" y="168456"/>
                  </a:lnTo>
                  <a:lnTo>
                    <a:pt x="685857" y="171999"/>
                  </a:lnTo>
                  <a:lnTo>
                    <a:pt x="684298" y="178340"/>
                  </a:lnTo>
                  <a:lnTo>
                    <a:pt x="680524" y="184726"/>
                  </a:lnTo>
                  <a:lnTo>
                    <a:pt x="672084" y="194276"/>
                  </a:lnTo>
                  <a:lnTo>
                    <a:pt x="627616" y="230907"/>
                  </a:lnTo>
                  <a:lnTo>
                    <a:pt x="612577" y="238572"/>
                  </a:lnTo>
                  <a:lnTo>
                    <a:pt x="608851" y="242312"/>
                  </a:lnTo>
                  <a:lnTo>
                    <a:pt x="607057" y="246358"/>
                  </a:lnTo>
                  <a:lnTo>
                    <a:pt x="605016" y="254086"/>
                  </a:lnTo>
                  <a:lnTo>
                    <a:pt x="603861" y="256862"/>
                  </a:lnTo>
                  <a:lnTo>
                    <a:pt x="602053" y="258747"/>
                  </a:lnTo>
                  <a:lnTo>
                    <a:pt x="596964" y="261589"/>
                  </a:lnTo>
                  <a:lnTo>
                    <a:pt x="590532" y="263053"/>
                  </a:lnTo>
                  <a:lnTo>
                    <a:pt x="577463" y="272078"/>
                  </a:lnTo>
                  <a:lnTo>
                    <a:pt x="575522" y="273275"/>
                  </a:lnTo>
                  <a:lnTo>
                    <a:pt x="574142" y="275548"/>
                  </a:lnTo>
                  <a:lnTo>
                    <a:pt x="573364" y="278713"/>
                  </a:lnTo>
                  <a:lnTo>
                    <a:pt x="573214" y="282722"/>
                  </a:lnTo>
                  <a:lnTo>
                    <a:pt x="569912" y="280782"/>
                  </a:lnTo>
                  <a:lnTo>
                    <a:pt x="568954" y="279841"/>
                  </a:lnTo>
                  <a:lnTo>
                    <a:pt x="570370" y="277475"/>
                  </a:lnTo>
                  <a:lnTo>
                    <a:pt x="567552" y="275959"/>
                  </a:lnTo>
                  <a:lnTo>
                    <a:pt x="562360" y="275229"/>
                  </a:lnTo>
                  <a:lnTo>
                    <a:pt x="556592" y="271662"/>
                  </a:lnTo>
                  <a:lnTo>
                    <a:pt x="555620" y="273191"/>
                  </a:lnTo>
                  <a:lnTo>
                    <a:pt x="556151" y="276353"/>
                  </a:lnTo>
                  <a:lnTo>
                    <a:pt x="557884" y="279741"/>
                  </a:lnTo>
                  <a:lnTo>
                    <a:pt x="560900" y="282101"/>
                  </a:lnTo>
                  <a:lnTo>
                    <a:pt x="567222" y="282454"/>
                  </a:lnTo>
                  <a:lnTo>
                    <a:pt x="570313" y="284003"/>
                  </a:lnTo>
                  <a:lnTo>
                    <a:pt x="571669" y="285740"/>
                  </a:lnTo>
                  <a:lnTo>
                    <a:pt x="575902" y="293189"/>
                  </a:lnTo>
                  <a:lnTo>
                    <a:pt x="571644" y="300289"/>
                  </a:lnTo>
                  <a:lnTo>
                    <a:pt x="570618" y="304198"/>
                  </a:lnTo>
                  <a:lnTo>
                    <a:pt x="571490" y="308574"/>
                  </a:lnTo>
                  <a:lnTo>
                    <a:pt x="568281" y="308484"/>
                  </a:lnTo>
                  <a:lnTo>
                    <a:pt x="562264" y="306036"/>
                  </a:lnTo>
                  <a:lnTo>
                    <a:pt x="559138" y="306070"/>
                  </a:lnTo>
                  <a:lnTo>
                    <a:pt x="557271" y="307545"/>
                  </a:lnTo>
                  <a:lnTo>
                    <a:pt x="553649" y="312437"/>
                  </a:lnTo>
                  <a:lnTo>
                    <a:pt x="551997" y="313820"/>
                  </a:lnTo>
                  <a:lnTo>
                    <a:pt x="546313" y="313593"/>
                  </a:lnTo>
                  <a:lnTo>
                    <a:pt x="534689" y="307391"/>
                  </a:lnTo>
                  <a:lnTo>
                    <a:pt x="529066" y="305758"/>
                  </a:lnTo>
                  <a:lnTo>
                    <a:pt x="512602" y="309913"/>
                  </a:lnTo>
                  <a:lnTo>
                    <a:pt x="508160" y="306700"/>
                  </a:lnTo>
                  <a:lnTo>
                    <a:pt x="501735" y="297381"/>
                  </a:lnTo>
                  <a:lnTo>
                    <a:pt x="497900" y="293785"/>
                  </a:lnTo>
                  <a:lnTo>
                    <a:pt x="493838" y="292283"/>
                  </a:lnTo>
                  <a:lnTo>
                    <a:pt x="504345" y="308687"/>
                  </a:lnTo>
                  <a:lnTo>
                    <a:pt x="510751" y="314210"/>
                  </a:lnTo>
                  <a:lnTo>
                    <a:pt x="518525" y="316063"/>
                  </a:lnTo>
                  <a:lnTo>
                    <a:pt x="526773" y="312198"/>
                  </a:lnTo>
                  <a:lnTo>
                    <a:pt x="531019" y="311500"/>
                  </a:lnTo>
                  <a:lnTo>
                    <a:pt x="534571" y="314944"/>
                  </a:lnTo>
                  <a:lnTo>
                    <a:pt x="538008" y="319288"/>
                  </a:lnTo>
                  <a:lnTo>
                    <a:pt x="542797" y="322852"/>
                  </a:lnTo>
                  <a:lnTo>
                    <a:pt x="546110" y="322761"/>
                  </a:lnTo>
                  <a:lnTo>
                    <a:pt x="545035" y="316362"/>
                  </a:lnTo>
                  <a:lnTo>
                    <a:pt x="557968" y="325536"/>
                  </a:lnTo>
                  <a:lnTo>
                    <a:pt x="565106" y="327513"/>
                  </a:lnTo>
                  <a:lnTo>
                    <a:pt x="576663" y="318377"/>
                  </a:lnTo>
                  <a:lnTo>
                    <a:pt x="583165" y="319967"/>
                  </a:lnTo>
                  <a:lnTo>
                    <a:pt x="586747" y="324829"/>
                  </a:lnTo>
                  <a:lnTo>
                    <a:pt x="583935" y="329766"/>
                  </a:lnTo>
                  <a:lnTo>
                    <a:pt x="590549" y="331726"/>
                  </a:lnTo>
                  <a:lnTo>
                    <a:pt x="598128" y="328326"/>
                  </a:lnTo>
                  <a:lnTo>
                    <a:pt x="605461" y="321424"/>
                  </a:lnTo>
                  <a:lnTo>
                    <a:pt x="611272" y="312971"/>
                  </a:lnTo>
                  <a:lnTo>
                    <a:pt x="614361" y="309397"/>
                  </a:lnTo>
                  <a:lnTo>
                    <a:pt x="616882" y="309831"/>
                  </a:lnTo>
                  <a:lnTo>
                    <a:pt x="618203" y="313568"/>
                  </a:lnTo>
                  <a:lnTo>
                    <a:pt x="617608" y="319767"/>
                  </a:lnTo>
                  <a:lnTo>
                    <a:pt x="616001" y="323085"/>
                  </a:lnTo>
                  <a:lnTo>
                    <a:pt x="588057" y="359548"/>
                  </a:lnTo>
                  <a:lnTo>
                    <a:pt x="583371" y="363291"/>
                  </a:lnTo>
                  <a:lnTo>
                    <a:pt x="577923" y="371519"/>
                  </a:lnTo>
                  <a:lnTo>
                    <a:pt x="575232" y="374279"/>
                  </a:lnTo>
                  <a:lnTo>
                    <a:pt x="571186" y="375085"/>
                  </a:lnTo>
                  <a:lnTo>
                    <a:pt x="568008" y="373519"/>
                  </a:lnTo>
                  <a:lnTo>
                    <a:pt x="567027" y="369733"/>
                  </a:lnTo>
                  <a:lnTo>
                    <a:pt x="569621" y="363787"/>
                  </a:lnTo>
                  <a:lnTo>
                    <a:pt x="564205" y="358408"/>
                  </a:lnTo>
                  <a:lnTo>
                    <a:pt x="557040" y="361015"/>
                  </a:lnTo>
                  <a:lnTo>
                    <a:pt x="541093" y="375267"/>
                  </a:lnTo>
                  <a:lnTo>
                    <a:pt x="538379" y="376436"/>
                  </a:lnTo>
                  <a:lnTo>
                    <a:pt x="533179" y="376720"/>
                  </a:lnTo>
                  <a:lnTo>
                    <a:pt x="519800" y="380328"/>
                  </a:lnTo>
                  <a:lnTo>
                    <a:pt x="516017" y="379551"/>
                  </a:lnTo>
                  <a:lnTo>
                    <a:pt x="512548" y="379680"/>
                  </a:lnTo>
                  <a:lnTo>
                    <a:pt x="510986" y="384074"/>
                  </a:lnTo>
                  <a:lnTo>
                    <a:pt x="509555" y="389310"/>
                  </a:lnTo>
                  <a:lnTo>
                    <a:pt x="506410" y="391788"/>
                  </a:lnTo>
                  <a:lnTo>
                    <a:pt x="503498" y="392963"/>
                  </a:lnTo>
                  <a:lnTo>
                    <a:pt x="490012" y="406367"/>
                  </a:lnTo>
                  <a:lnTo>
                    <a:pt x="488135" y="408843"/>
                  </a:lnTo>
                  <a:lnTo>
                    <a:pt x="486413" y="412642"/>
                  </a:lnTo>
                  <a:lnTo>
                    <a:pt x="484660" y="418510"/>
                  </a:lnTo>
                  <a:lnTo>
                    <a:pt x="485681" y="418804"/>
                  </a:lnTo>
                  <a:lnTo>
                    <a:pt x="488489" y="416683"/>
                  </a:lnTo>
                  <a:lnTo>
                    <a:pt x="494678" y="414143"/>
                  </a:lnTo>
                  <a:lnTo>
                    <a:pt x="497745" y="411168"/>
                  </a:lnTo>
                  <a:lnTo>
                    <a:pt x="500672" y="407336"/>
                  </a:lnTo>
                  <a:lnTo>
                    <a:pt x="502822" y="403619"/>
                  </a:lnTo>
                  <a:lnTo>
                    <a:pt x="505341" y="400169"/>
                  </a:lnTo>
                  <a:lnTo>
                    <a:pt x="514749" y="394506"/>
                  </a:lnTo>
                  <a:lnTo>
                    <a:pt x="522738" y="386347"/>
                  </a:lnTo>
                  <a:lnTo>
                    <a:pt x="531508" y="381878"/>
                  </a:lnTo>
                  <a:lnTo>
                    <a:pt x="533173" y="381696"/>
                  </a:lnTo>
                  <a:lnTo>
                    <a:pt x="535515" y="382762"/>
                  </a:lnTo>
                  <a:lnTo>
                    <a:pt x="538180" y="386242"/>
                  </a:lnTo>
                  <a:lnTo>
                    <a:pt x="548438" y="388665"/>
                  </a:lnTo>
                  <a:lnTo>
                    <a:pt x="552924" y="388553"/>
                  </a:lnTo>
                  <a:lnTo>
                    <a:pt x="556236" y="385957"/>
                  </a:lnTo>
                  <a:lnTo>
                    <a:pt x="558840" y="383184"/>
                  </a:lnTo>
                  <a:lnTo>
                    <a:pt x="567772" y="377574"/>
                  </a:lnTo>
                  <a:lnTo>
                    <a:pt x="570903" y="377088"/>
                  </a:lnTo>
                  <a:lnTo>
                    <a:pt x="571851" y="381899"/>
                  </a:lnTo>
                  <a:lnTo>
                    <a:pt x="567540" y="389791"/>
                  </a:lnTo>
                  <a:lnTo>
                    <a:pt x="561556" y="397185"/>
                  </a:lnTo>
                  <a:lnTo>
                    <a:pt x="555533" y="401853"/>
                  </a:lnTo>
                  <a:lnTo>
                    <a:pt x="548220" y="413395"/>
                  </a:lnTo>
                  <a:lnTo>
                    <a:pt x="548834" y="415359"/>
                  </a:lnTo>
                  <a:lnTo>
                    <a:pt x="549470" y="416781"/>
                  </a:lnTo>
                  <a:lnTo>
                    <a:pt x="550160" y="417814"/>
                  </a:lnTo>
                  <a:lnTo>
                    <a:pt x="550952" y="418645"/>
                  </a:lnTo>
                  <a:lnTo>
                    <a:pt x="541437" y="419481"/>
                  </a:lnTo>
                  <a:lnTo>
                    <a:pt x="537459" y="421771"/>
                  </a:lnTo>
                  <a:lnTo>
                    <a:pt x="533956" y="426289"/>
                  </a:lnTo>
                  <a:lnTo>
                    <a:pt x="535844" y="429853"/>
                  </a:lnTo>
                  <a:lnTo>
                    <a:pt x="534436" y="430366"/>
                  </a:lnTo>
                  <a:lnTo>
                    <a:pt x="529722" y="428821"/>
                  </a:lnTo>
                  <a:lnTo>
                    <a:pt x="518525" y="428690"/>
                  </a:lnTo>
                  <a:lnTo>
                    <a:pt x="518490" y="431551"/>
                  </a:lnTo>
                  <a:lnTo>
                    <a:pt x="524367" y="431418"/>
                  </a:lnTo>
                  <a:lnTo>
                    <a:pt x="527164" y="432103"/>
                  </a:lnTo>
                  <a:lnTo>
                    <a:pt x="529662" y="434044"/>
                  </a:lnTo>
                  <a:lnTo>
                    <a:pt x="525803" y="442768"/>
                  </a:lnTo>
                  <a:lnTo>
                    <a:pt x="523469" y="446611"/>
                  </a:lnTo>
                  <a:lnTo>
                    <a:pt x="521077" y="449584"/>
                  </a:lnTo>
                  <a:lnTo>
                    <a:pt x="528474" y="451691"/>
                  </a:lnTo>
                  <a:lnTo>
                    <a:pt x="532165" y="451950"/>
                  </a:lnTo>
                  <a:lnTo>
                    <a:pt x="536486" y="449759"/>
                  </a:lnTo>
                  <a:lnTo>
                    <a:pt x="539873" y="445581"/>
                  </a:lnTo>
                  <a:lnTo>
                    <a:pt x="541454" y="443095"/>
                  </a:lnTo>
                  <a:lnTo>
                    <a:pt x="541615" y="442009"/>
                  </a:lnTo>
                  <a:lnTo>
                    <a:pt x="546246" y="441683"/>
                  </a:lnTo>
                  <a:lnTo>
                    <a:pt x="548429" y="440586"/>
                  </a:lnTo>
                  <a:lnTo>
                    <a:pt x="552318" y="434934"/>
                  </a:lnTo>
                  <a:lnTo>
                    <a:pt x="555326" y="432010"/>
                  </a:lnTo>
                  <a:lnTo>
                    <a:pt x="558567" y="429926"/>
                  </a:lnTo>
                  <a:lnTo>
                    <a:pt x="561479" y="429144"/>
                  </a:lnTo>
                  <a:lnTo>
                    <a:pt x="565216" y="427344"/>
                  </a:lnTo>
                  <a:lnTo>
                    <a:pt x="562902" y="423126"/>
                  </a:lnTo>
                  <a:lnTo>
                    <a:pt x="555304" y="416075"/>
                  </a:lnTo>
                  <a:lnTo>
                    <a:pt x="561003" y="416501"/>
                  </a:lnTo>
                  <a:lnTo>
                    <a:pt x="579809" y="413675"/>
                  </a:lnTo>
                  <a:lnTo>
                    <a:pt x="599474" y="415759"/>
                  </a:lnTo>
                  <a:lnTo>
                    <a:pt x="605796" y="413853"/>
                  </a:lnTo>
                  <a:lnTo>
                    <a:pt x="622831" y="401197"/>
                  </a:lnTo>
                  <a:lnTo>
                    <a:pt x="622834" y="401209"/>
                  </a:lnTo>
                  <a:lnTo>
                    <a:pt x="622953" y="401683"/>
                  </a:lnTo>
                  <a:lnTo>
                    <a:pt x="626230" y="408963"/>
                  </a:lnTo>
                  <a:lnTo>
                    <a:pt x="628014" y="417026"/>
                  </a:lnTo>
                  <a:lnTo>
                    <a:pt x="632105" y="419905"/>
                  </a:lnTo>
                  <a:lnTo>
                    <a:pt x="631965" y="424268"/>
                  </a:lnTo>
                  <a:lnTo>
                    <a:pt x="630588" y="426809"/>
                  </a:lnTo>
                  <a:lnTo>
                    <a:pt x="631769" y="430634"/>
                  </a:lnTo>
                  <a:lnTo>
                    <a:pt x="631456" y="437118"/>
                  </a:lnTo>
                  <a:lnTo>
                    <a:pt x="636462" y="440947"/>
                  </a:lnTo>
                  <a:lnTo>
                    <a:pt x="637640" y="446361"/>
                  </a:lnTo>
                  <a:lnTo>
                    <a:pt x="638074" y="452188"/>
                  </a:lnTo>
                  <a:lnTo>
                    <a:pt x="636436" y="464283"/>
                  </a:lnTo>
                  <a:lnTo>
                    <a:pt x="636871" y="470127"/>
                  </a:lnTo>
                  <a:lnTo>
                    <a:pt x="629738" y="479014"/>
                  </a:lnTo>
                  <a:lnTo>
                    <a:pt x="628692" y="483461"/>
                  </a:lnTo>
                  <a:lnTo>
                    <a:pt x="629880" y="485598"/>
                  </a:lnTo>
                  <a:lnTo>
                    <a:pt x="633325" y="484664"/>
                  </a:lnTo>
                  <a:lnTo>
                    <a:pt x="640612" y="475985"/>
                  </a:lnTo>
                  <a:lnTo>
                    <a:pt x="652157" y="474639"/>
                  </a:lnTo>
                  <a:lnTo>
                    <a:pt x="655202" y="470718"/>
                  </a:lnTo>
                  <a:lnTo>
                    <a:pt x="658750" y="469127"/>
                  </a:lnTo>
                  <a:lnTo>
                    <a:pt x="675263" y="465866"/>
                  </a:lnTo>
                  <a:lnTo>
                    <a:pt x="687479" y="477868"/>
                  </a:lnTo>
                  <a:lnTo>
                    <a:pt x="695875" y="479664"/>
                  </a:lnTo>
                  <a:lnTo>
                    <a:pt x="698638" y="494943"/>
                  </a:lnTo>
                  <a:lnTo>
                    <a:pt x="697325" y="499188"/>
                  </a:lnTo>
                  <a:lnTo>
                    <a:pt x="691655" y="503987"/>
                  </a:lnTo>
                  <a:lnTo>
                    <a:pt x="686096" y="514806"/>
                  </a:lnTo>
                  <a:lnTo>
                    <a:pt x="680368" y="519462"/>
                  </a:lnTo>
                  <a:lnTo>
                    <a:pt x="677548" y="524020"/>
                  </a:lnTo>
                  <a:lnTo>
                    <a:pt x="678351" y="526469"/>
                  </a:lnTo>
                  <a:lnTo>
                    <a:pt x="686091" y="531468"/>
                  </a:lnTo>
                  <a:lnTo>
                    <a:pt x="684076" y="550025"/>
                  </a:lnTo>
                  <a:lnTo>
                    <a:pt x="691253" y="555447"/>
                  </a:lnTo>
                  <a:lnTo>
                    <a:pt x="689184" y="559267"/>
                  </a:lnTo>
                  <a:lnTo>
                    <a:pt x="689815" y="563294"/>
                  </a:lnTo>
                  <a:lnTo>
                    <a:pt x="687867" y="568605"/>
                  </a:lnTo>
                  <a:lnTo>
                    <a:pt x="684580" y="572631"/>
                  </a:lnTo>
                  <a:lnTo>
                    <a:pt x="679923" y="572422"/>
                  </a:lnTo>
                  <a:lnTo>
                    <a:pt x="668343" y="578026"/>
                  </a:lnTo>
                  <a:lnTo>
                    <a:pt x="663039" y="585025"/>
                  </a:lnTo>
                  <a:lnTo>
                    <a:pt x="656638" y="589059"/>
                  </a:lnTo>
                  <a:lnTo>
                    <a:pt x="651025" y="595718"/>
                  </a:lnTo>
                  <a:lnTo>
                    <a:pt x="645319" y="596333"/>
                  </a:lnTo>
                  <a:lnTo>
                    <a:pt x="638209" y="603634"/>
                  </a:lnTo>
                  <a:lnTo>
                    <a:pt x="637452" y="604076"/>
                  </a:lnTo>
                  <a:lnTo>
                    <a:pt x="625484" y="611007"/>
                  </a:lnTo>
                  <a:lnTo>
                    <a:pt x="623791" y="615046"/>
                  </a:lnTo>
                  <a:lnTo>
                    <a:pt x="624934" y="617490"/>
                  </a:lnTo>
                  <a:lnTo>
                    <a:pt x="622915" y="629889"/>
                  </a:lnTo>
                  <a:lnTo>
                    <a:pt x="623485" y="643693"/>
                  </a:lnTo>
                  <a:lnTo>
                    <a:pt x="621842" y="647515"/>
                  </a:lnTo>
                  <a:lnTo>
                    <a:pt x="616029" y="654061"/>
                  </a:lnTo>
                  <a:lnTo>
                    <a:pt x="612836" y="667095"/>
                  </a:lnTo>
                  <a:lnTo>
                    <a:pt x="608604" y="665582"/>
                  </a:lnTo>
                  <a:lnTo>
                    <a:pt x="595785" y="669126"/>
                  </a:lnTo>
                  <a:lnTo>
                    <a:pt x="591569" y="667815"/>
                  </a:lnTo>
                  <a:lnTo>
                    <a:pt x="582815" y="660328"/>
                  </a:lnTo>
                  <a:lnTo>
                    <a:pt x="580896" y="661894"/>
                  </a:lnTo>
                  <a:lnTo>
                    <a:pt x="578710" y="667306"/>
                  </a:lnTo>
                  <a:lnTo>
                    <a:pt x="577345" y="678531"/>
                  </a:lnTo>
                  <a:lnTo>
                    <a:pt x="575250" y="680114"/>
                  </a:lnTo>
                  <a:lnTo>
                    <a:pt x="563388" y="677360"/>
                  </a:lnTo>
                  <a:lnTo>
                    <a:pt x="549568" y="679986"/>
                  </a:lnTo>
                  <a:lnTo>
                    <a:pt x="536049" y="674754"/>
                  </a:lnTo>
                  <a:lnTo>
                    <a:pt x="533203" y="675158"/>
                  </a:lnTo>
                  <a:lnTo>
                    <a:pt x="528046" y="680611"/>
                  </a:lnTo>
                  <a:lnTo>
                    <a:pt x="529475" y="687419"/>
                  </a:lnTo>
                  <a:lnTo>
                    <a:pt x="528176" y="689636"/>
                  </a:lnTo>
                  <a:lnTo>
                    <a:pt x="517254" y="695769"/>
                  </a:lnTo>
                  <a:lnTo>
                    <a:pt x="506763" y="698720"/>
                  </a:lnTo>
                  <a:lnTo>
                    <a:pt x="500448" y="706598"/>
                  </a:lnTo>
                  <a:lnTo>
                    <a:pt x="493377" y="705555"/>
                  </a:lnTo>
                  <a:lnTo>
                    <a:pt x="490960" y="707250"/>
                  </a:lnTo>
                  <a:lnTo>
                    <a:pt x="490336" y="708239"/>
                  </a:lnTo>
                  <a:lnTo>
                    <a:pt x="487701" y="710710"/>
                  </a:lnTo>
                  <a:lnTo>
                    <a:pt x="478493" y="723769"/>
                  </a:lnTo>
                  <a:lnTo>
                    <a:pt x="476291" y="723737"/>
                  </a:lnTo>
                  <a:lnTo>
                    <a:pt x="470601" y="720829"/>
                  </a:lnTo>
                  <a:lnTo>
                    <a:pt x="466571" y="714508"/>
                  </a:lnTo>
                  <a:lnTo>
                    <a:pt x="462396" y="713910"/>
                  </a:lnTo>
                  <a:lnTo>
                    <a:pt x="455901" y="723581"/>
                  </a:lnTo>
                  <a:lnTo>
                    <a:pt x="454291" y="729064"/>
                  </a:lnTo>
                  <a:lnTo>
                    <a:pt x="448662" y="732271"/>
                  </a:lnTo>
                  <a:lnTo>
                    <a:pt x="449477" y="742789"/>
                  </a:lnTo>
                  <a:lnTo>
                    <a:pt x="445146" y="747062"/>
                  </a:lnTo>
                  <a:lnTo>
                    <a:pt x="444284" y="749929"/>
                  </a:lnTo>
                  <a:lnTo>
                    <a:pt x="446565" y="756111"/>
                  </a:lnTo>
                  <a:lnTo>
                    <a:pt x="434100" y="762374"/>
                  </a:lnTo>
                  <a:lnTo>
                    <a:pt x="421990" y="764171"/>
                  </a:lnTo>
                  <a:lnTo>
                    <a:pt x="420658" y="766911"/>
                  </a:lnTo>
                  <a:lnTo>
                    <a:pt x="420559" y="775144"/>
                  </a:lnTo>
                  <a:lnTo>
                    <a:pt x="420001" y="775094"/>
                  </a:lnTo>
                  <a:lnTo>
                    <a:pt x="410362" y="774261"/>
                  </a:lnTo>
                  <a:lnTo>
                    <a:pt x="409304" y="773629"/>
                  </a:lnTo>
                  <a:lnTo>
                    <a:pt x="403390" y="770078"/>
                  </a:lnTo>
                  <a:lnTo>
                    <a:pt x="387970" y="772512"/>
                  </a:lnTo>
                  <a:lnTo>
                    <a:pt x="381748" y="768679"/>
                  </a:lnTo>
                  <a:lnTo>
                    <a:pt x="381421" y="768484"/>
                  </a:lnTo>
                  <a:lnTo>
                    <a:pt x="380064" y="768238"/>
                  </a:lnTo>
                  <a:lnTo>
                    <a:pt x="375382" y="767368"/>
                  </a:lnTo>
                  <a:lnTo>
                    <a:pt x="365496" y="772959"/>
                  </a:lnTo>
                  <a:lnTo>
                    <a:pt x="355132" y="774008"/>
                  </a:lnTo>
                  <a:lnTo>
                    <a:pt x="351073" y="780590"/>
                  </a:lnTo>
                  <a:lnTo>
                    <a:pt x="346294" y="782533"/>
                  </a:lnTo>
                  <a:lnTo>
                    <a:pt x="343235" y="786588"/>
                  </a:lnTo>
                  <a:lnTo>
                    <a:pt x="328704" y="782721"/>
                  </a:lnTo>
                  <a:lnTo>
                    <a:pt x="323700" y="777085"/>
                  </a:lnTo>
                  <a:lnTo>
                    <a:pt x="296989" y="772975"/>
                  </a:lnTo>
                  <a:lnTo>
                    <a:pt x="296475" y="772880"/>
                  </a:lnTo>
                  <a:lnTo>
                    <a:pt x="295370" y="772792"/>
                  </a:lnTo>
                  <a:lnTo>
                    <a:pt x="295368" y="772792"/>
                  </a:lnTo>
                  <a:lnTo>
                    <a:pt x="295367" y="772792"/>
                  </a:lnTo>
                  <a:lnTo>
                    <a:pt x="295368" y="772791"/>
                  </a:lnTo>
                  <a:lnTo>
                    <a:pt x="296706" y="770431"/>
                  </a:lnTo>
                  <a:lnTo>
                    <a:pt x="292725" y="767477"/>
                  </a:lnTo>
                  <a:lnTo>
                    <a:pt x="292803" y="764633"/>
                  </a:lnTo>
                  <a:lnTo>
                    <a:pt x="294662" y="763563"/>
                  </a:lnTo>
                  <a:lnTo>
                    <a:pt x="299454" y="759587"/>
                  </a:lnTo>
                  <a:lnTo>
                    <a:pt x="304749" y="760366"/>
                  </a:lnTo>
                  <a:lnTo>
                    <a:pt x="307540" y="760159"/>
                  </a:lnTo>
                  <a:lnTo>
                    <a:pt x="313834" y="754739"/>
                  </a:lnTo>
                  <a:lnTo>
                    <a:pt x="318547" y="754859"/>
                  </a:lnTo>
                  <a:lnTo>
                    <a:pt x="327524" y="757932"/>
                  </a:lnTo>
                  <a:lnTo>
                    <a:pt x="331893" y="756780"/>
                  </a:lnTo>
                  <a:lnTo>
                    <a:pt x="340267" y="751431"/>
                  </a:lnTo>
                  <a:lnTo>
                    <a:pt x="357256" y="747909"/>
                  </a:lnTo>
                  <a:lnTo>
                    <a:pt x="360924" y="745443"/>
                  </a:lnTo>
                  <a:lnTo>
                    <a:pt x="326145" y="752298"/>
                  </a:lnTo>
                  <a:lnTo>
                    <a:pt x="310052" y="743956"/>
                  </a:lnTo>
                  <a:lnTo>
                    <a:pt x="310060" y="741686"/>
                  </a:lnTo>
                  <a:lnTo>
                    <a:pt x="312315" y="736426"/>
                  </a:lnTo>
                  <a:lnTo>
                    <a:pt x="313695" y="734532"/>
                  </a:lnTo>
                  <a:lnTo>
                    <a:pt x="328212" y="719317"/>
                  </a:lnTo>
                  <a:lnTo>
                    <a:pt x="332193" y="713117"/>
                  </a:lnTo>
                  <a:lnTo>
                    <a:pt x="335859" y="705696"/>
                  </a:lnTo>
                  <a:lnTo>
                    <a:pt x="323171" y="716531"/>
                  </a:lnTo>
                  <a:lnTo>
                    <a:pt x="321329" y="719581"/>
                  </a:lnTo>
                  <a:lnTo>
                    <a:pt x="320371" y="722045"/>
                  </a:lnTo>
                  <a:lnTo>
                    <a:pt x="318119" y="724102"/>
                  </a:lnTo>
                  <a:lnTo>
                    <a:pt x="315482" y="725527"/>
                  </a:lnTo>
                  <a:lnTo>
                    <a:pt x="313312" y="726031"/>
                  </a:lnTo>
                  <a:lnTo>
                    <a:pt x="311501" y="727150"/>
                  </a:lnTo>
                  <a:lnTo>
                    <a:pt x="310677" y="729928"/>
                  </a:lnTo>
                  <a:lnTo>
                    <a:pt x="310196" y="733322"/>
                  </a:lnTo>
                  <a:lnTo>
                    <a:pt x="309459" y="736351"/>
                  </a:lnTo>
                  <a:lnTo>
                    <a:pt x="306545" y="741967"/>
                  </a:lnTo>
                  <a:lnTo>
                    <a:pt x="303686" y="745142"/>
                  </a:lnTo>
                  <a:lnTo>
                    <a:pt x="300526" y="746473"/>
                  </a:lnTo>
                  <a:lnTo>
                    <a:pt x="296814" y="746684"/>
                  </a:lnTo>
                  <a:lnTo>
                    <a:pt x="294950" y="747427"/>
                  </a:lnTo>
                  <a:lnTo>
                    <a:pt x="292893" y="750810"/>
                  </a:lnTo>
                  <a:lnTo>
                    <a:pt x="288442" y="752382"/>
                  </a:lnTo>
                  <a:lnTo>
                    <a:pt x="286655" y="754573"/>
                  </a:lnTo>
                  <a:lnTo>
                    <a:pt x="284220" y="759171"/>
                  </a:lnTo>
                  <a:lnTo>
                    <a:pt x="277984" y="766555"/>
                  </a:lnTo>
                  <a:lnTo>
                    <a:pt x="274595" y="768746"/>
                  </a:lnTo>
                  <a:lnTo>
                    <a:pt x="270298" y="769463"/>
                  </a:lnTo>
                  <a:lnTo>
                    <a:pt x="268116" y="770986"/>
                  </a:lnTo>
                  <a:lnTo>
                    <a:pt x="264902" y="777893"/>
                  </a:lnTo>
                  <a:lnTo>
                    <a:pt x="262879" y="779452"/>
                  </a:lnTo>
                  <a:lnTo>
                    <a:pt x="260197" y="780120"/>
                  </a:lnTo>
                  <a:lnTo>
                    <a:pt x="257659" y="782005"/>
                  </a:lnTo>
                  <a:lnTo>
                    <a:pt x="255322" y="784564"/>
                  </a:lnTo>
                  <a:lnTo>
                    <a:pt x="246496" y="797101"/>
                  </a:lnTo>
                  <a:lnTo>
                    <a:pt x="232047" y="813425"/>
                  </a:lnTo>
                  <a:lnTo>
                    <a:pt x="217388" y="824642"/>
                  </a:lnTo>
                  <a:lnTo>
                    <a:pt x="215962" y="825202"/>
                  </a:lnTo>
                  <a:lnTo>
                    <a:pt x="214121" y="823712"/>
                  </a:lnTo>
                  <a:lnTo>
                    <a:pt x="211826" y="818581"/>
                  </a:lnTo>
                  <a:lnTo>
                    <a:pt x="209606" y="817435"/>
                  </a:lnTo>
                  <a:lnTo>
                    <a:pt x="206174" y="816622"/>
                  </a:lnTo>
                  <a:lnTo>
                    <a:pt x="202223" y="814671"/>
                  </a:lnTo>
                  <a:lnTo>
                    <a:pt x="198650" y="811985"/>
                  </a:lnTo>
                  <a:lnTo>
                    <a:pt x="196215" y="808901"/>
                  </a:lnTo>
                  <a:lnTo>
                    <a:pt x="199595" y="802822"/>
                  </a:lnTo>
                  <a:lnTo>
                    <a:pt x="200571" y="799807"/>
                  </a:lnTo>
                  <a:lnTo>
                    <a:pt x="201102" y="796012"/>
                  </a:lnTo>
                  <a:lnTo>
                    <a:pt x="199518" y="795959"/>
                  </a:lnTo>
                  <a:lnTo>
                    <a:pt x="191317" y="806650"/>
                  </a:lnTo>
                  <a:lnTo>
                    <a:pt x="178675" y="803460"/>
                  </a:lnTo>
                  <a:lnTo>
                    <a:pt x="148277" y="776275"/>
                  </a:lnTo>
                  <a:lnTo>
                    <a:pt x="147038" y="773242"/>
                  </a:lnTo>
                  <a:lnTo>
                    <a:pt x="147614" y="767242"/>
                  </a:lnTo>
                  <a:lnTo>
                    <a:pt x="149850" y="764416"/>
                  </a:lnTo>
                  <a:lnTo>
                    <a:pt x="152941" y="763410"/>
                  </a:lnTo>
                  <a:lnTo>
                    <a:pt x="163448" y="763060"/>
                  </a:lnTo>
                  <a:lnTo>
                    <a:pt x="170646" y="764811"/>
                  </a:lnTo>
                  <a:lnTo>
                    <a:pt x="177278" y="768593"/>
                  </a:lnTo>
                  <a:lnTo>
                    <a:pt x="182887" y="774530"/>
                  </a:lnTo>
                  <a:lnTo>
                    <a:pt x="184559" y="771741"/>
                  </a:lnTo>
                  <a:lnTo>
                    <a:pt x="179679" y="767464"/>
                  </a:lnTo>
                  <a:lnTo>
                    <a:pt x="177677" y="764827"/>
                  </a:lnTo>
                  <a:lnTo>
                    <a:pt x="177759" y="761049"/>
                  </a:lnTo>
                  <a:lnTo>
                    <a:pt x="200483" y="746754"/>
                  </a:lnTo>
                  <a:lnTo>
                    <a:pt x="205640" y="746320"/>
                  </a:lnTo>
                  <a:lnTo>
                    <a:pt x="218603" y="753699"/>
                  </a:lnTo>
                  <a:lnTo>
                    <a:pt x="223859" y="754987"/>
                  </a:lnTo>
                  <a:lnTo>
                    <a:pt x="235051" y="754533"/>
                  </a:lnTo>
                  <a:lnTo>
                    <a:pt x="241257" y="753076"/>
                  </a:lnTo>
                  <a:lnTo>
                    <a:pt x="245779" y="750227"/>
                  </a:lnTo>
                  <a:lnTo>
                    <a:pt x="226221" y="752216"/>
                  </a:lnTo>
                  <a:lnTo>
                    <a:pt x="221630" y="751276"/>
                  </a:lnTo>
                  <a:lnTo>
                    <a:pt x="211307" y="744127"/>
                  </a:lnTo>
                  <a:lnTo>
                    <a:pt x="202760" y="741557"/>
                  </a:lnTo>
                  <a:lnTo>
                    <a:pt x="179454" y="753501"/>
                  </a:lnTo>
                  <a:lnTo>
                    <a:pt x="171449" y="755552"/>
                  </a:lnTo>
                  <a:lnTo>
                    <a:pt x="169228" y="755520"/>
                  </a:lnTo>
                  <a:lnTo>
                    <a:pt x="166554" y="754289"/>
                  </a:lnTo>
                  <a:lnTo>
                    <a:pt x="161974" y="750763"/>
                  </a:lnTo>
                  <a:lnTo>
                    <a:pt x="159312" y="749935"/>
                  </a:lnTo>
                  <a:lnTo>
                    <a:pt x="144728" y="750533"/>
                  </a:lnTo>
                  <a:lnTo>
                    <a:pt x="129433" y="745642"/>
                  </a:lnTo>
                  <a:lnTo>
                    <a:pt x="124123" y="745951"/>
                  </a:lnTo>
                  <a:lnTo>
                    <a:pt x="119832" y="749892"/>
                  </a:lnTo>
                  <a:lnTo>
                    <a:pt x="115916" y="752291"/>
                  </a:lnTo>
                  <a:lnTo>
                    <a:pt x="110746" y="750981"/>
                  </a:lnTo>
                  <a:lnTo>
                    <a:pt x="106029" y="747977"/>
                  </a:lnTo>
                  <a:lnTo>
                    <a:pt x="103382" y="745194"/>
                  </a:lnTo>
                  <a:lnTo>
                    <a:pt x="102335" y="743004"/>
                  </a:lnTo>
                  <a:lnTo>
                    <a:pt x="101507" y="740886"/>
                  </a:lnTo>
                  <a:lnTo>
                    <a:pt x="101010" y="738625"/>
                  </a:lnTo>
                  <a:lnTo>
                    <a:pt x="100892" y="736067"/>
                  </a:lnTo>
                  <a:lnTo>
                    <a:pt x="101442" y="732448"/>
                  </a:lnTo>
                  <a:lnTo>
                    <a:pt x="102480" y="732304"/>
                  </a:lnTo>
                  <a:lnTo>
                    <a:pt x="103875" y="733076"/>
                  </a:lnTo>
                  <a:lnTo>
                    <a:pt x="105472" y="732207"/>
                  </a:lnTo>
                  <a:lnTo>
                    <a:pt x="110339" y="725182"/>
                  </a:lnTo>
                  <a:lnTo>
                    <a:pt x="113141" y="722959"/>
                  </a:lnTo>
                  <a:lnTo>
                    <a:pt x="145420" y="720716"/>
                  </a:lnTo>
                  <a:lnTo>
                    <a:pt x="147997" y="719552"/>
                  </a:lnTo>
                  <a:lnTo>
                    <a:pt x="155526" y="714277"/>
                  </a:lnTo>
                  <a:lnTo>
                    <a:pt x="158646" y="713131"/>
                  </a:lnTo>
                  <a:lnTo>
                    <a:pt x="162162" y="714146"/>
                  </a:lnTo>
                  <a:lnTo>
                    <a:pt x="164229" y="716368"/>
                  </a:lnTo>
                  <a:lnTo>
                    <a:pt x="166108" y="719096"/>
                  </a:lnTo>
                  <a:lnTo>
                    <a:pt x="169138" y="721585"/>
                  </a:lnTo>
                  <a:lnTo>
                    <a:pt x="180002" y="726917"/>
                  </a:lnTo>
                  <a:lnTo>
                    <a:pt x="181773" y="728442"/>
                  </a:lnTo>
                  <a:lnTo>
                    <a:pt x="181682" y="724269"/>
                  </a:lnTo>
                  <a:lnTo>
                    <a:pt x="180819" y="720194"/>
                  </a:lnTo>
                  <a:lnTo>
                    <a:pt x="178774" y="717292"/>
                  </a:lnTo>
                  <a:lnTo>
                    <a:pt x="175040" y="716568"/>
                  </a:lnTo>
                  <a:lnTo>
                    <a:pt x="175142" y="713724"/>
                  </a:lnTo>
                  <a:lnTo>
                    <a:pt x="177733" y="713489"/>
                  </a:lnTo>
                  <a:lnTo>
                    <a:pt x="180278" y="713811"/>
                  </a:lnTo>
                  <a:lnTo>
                    <a:pt x="182694" y="714908"/>
                  </a:lnTo>
                  <a:lnTo>
                    <a:pt x="184908" y="716914"/>
                  </a:lnTo>
                  <a:lnTo>
                    <a:pt x="188091" y="713136"/>
                  </a:lnTo>
                  <a:lnTo>
                    <a:pt x="192863" y="711680"/>
                  </a:lnTo>
                  <a:lnTo>
                    <a:pt x="198141" y="713323"/>
                  </a:lnTo>
                  <a:lnTo>
                    <a:pt x="202271" y="714659"/>
                  </a:lnTo>
                  <a:lnTo>
                    <a:pt x="186848" y="706293"/>
                  </a:lnTo>
                  <a:lnTo>
                    <a:pt x="183020" y="701322"/>
                  </a:lnTo>
                  <a:lnTo>
                    <a:pt x="183090" y="697155"/>
                  </a:lnTo>
                  <a:lnTo>
                    <a:pt x="186059" y="694318"/>
                  </a:lnTo>
                  <a:lnTo>
                    <a:pt x="207807" y="691930"/>
                  </a:lnTo>
                  <a:lnTo>
                    <a:pt x="216527" y="688343"/>
                  </a:lnTo>
                  <a:lnTo>
                    <a:pt x="223507" y="681663"/>
                  </a:lnTo>
                  <a:lnTo>
                    <a:pt x="220799" y="680222"/>
                  </a:lnTo>
                  <a:lnTo>
                    <a:pt x="216937" y="680563"/>
                  </a:lnTo>
                  <a:lnTo>
                    <a:pt x="213437" y="682269"/>
                  </a:lnTo>
                  <a:lnTo>
                    <a:pt x="209911" y="688546"/>
                  </a:lnTo>
                  <a:lnTo>
                    <a:pt x="205709" y="688282"/>
                  </a:lnTo>
                  <a:lnTo>
                    <a:pt x="197551" y="685798"/>
                  </a:lnTo>
                  <a:lnTo>
                    <a:pt x="199466" y="682036"/>
                  </a:lnTo>
                  <a:lnTo>
                    <a:pt x="208100" y="673085"/>
                  </a:lnTo>
                  <a:lnTo>
                    <a:pt x="198756" y="670998"/>
                  </a:lnTo>
                  <a:lnTo>
                    <a:pt x="178934" y="674747"/>
                  </a:lnTo>
                  <a:lnTo>
                    <a:pt x="169379" y="671746"/>
                  </a:lnTo>
                  <a:lnTo>
                    <a:pt x="176449" y="670085"/>
                  </a:lnTo>
                  <a:lnTo>
                    <a:pt x="183840" y="669878"/>
                  </a:lnTo>
                  <a:lnTo>
                    <a:pt x="183940" y="667067"/>
                  </a:lnTo>
                  <a:lnTo>
                    <a:pt x="182383" y="665923"/>
                  </a:lnTo>
                  <a:lnTo>
                    <a:pt x="178315" y="661393"/>
                  </a:lnTo>
                  <a:lnTo>
                    <a:pt x="182137" y="657047"/>
                  </a:lnTo>
                  <a:lnTo>
                    <a:pt x="184729" y="649297"/>
                  </a:lnTo>
                  <a:lnTo>
                    <a:pt x="186896" y="640505"/>
                  </a:lnTo>
                  <a:lnTo>
                    <a:pt x="189413" y="633063"/>
                  </a:lnTo>
                  <a:lnTo>
                    <a:pt x="193234" y="628466"/>
                  </a:lnTo>
                  <a:lnTo>
                    <a:pt x="199218" y="624439"/>
                  </a:lnTo>
                  <a:lnTo>
                    <a:pt x="205699" y="622371"/>
                  </a:lnTo>
                  <a:lnTo>
                    <a:pt x="211052" y="623592"/>
                  </a:lnTo>
                  <a:lnTo>
                    <a:pt x="212934" y="626050"/>
                  </a:lnTo>
                  <a:lnTo>
                    <a:pt x="216834" y="633613"/>
                  </a:lnTo>
                  <a:lnTo>
                    <a:pt x="219149" y="636909"/>
                  </a:lnTo>
                  <a:lnTo>
                    <a:pt x="222036" y="639336"/>
                  </a:lnTo>
                  <a:lnTo>
                    <a:pt x="225211" y="641010"/>
                  </a:lnTo>
                  <a:lnTo>
                    <a:pt x="232037" y="642316"/>
                  </a:lnTo>
                  <a:lnTo>
                    <a:pt x="243430" y="639919"/>
                  </a:lnTo>
                  <a:lnTo>
                    <a:pt x="253579" y="635143"/>
                  </a:lnTo>
                  <a:lnTo>
                    <a:pt x="253659" y="632532"/>
                  </a:lnTo>
                  <a:lnTo>
                    <a:pt x="250054" y="633496"/>
                  </a:lnTo>
                  <a:lnTo>
                    <a:pt x="246649" y="635337"/>
                  </a:lnTo>
                  <a:lnTo>
                    <a:pt x="243543" y="636299"/>
                  </a:lnTo>
                  <a:lnTo>
                    <a:pt x="240813" y="634752"/>
                  </a:lnTo>
                  <a:lnTo>
                    <a:pt x="236035" y="637901"/>
                  </a:lnTo>
                  <a:lnTo>
                    <a:pt x="231555" y="636468"/>
                  </a:lnTo>
                  <a:lnTo>
                    <a:pt x="227265" y="633360"/>
                  </a:lnTo>
                  <a:lnTo>
                    <a:pt x="223069" y="631576"/>
                  </a:lnTo>
                  <a:lnTo>
                    <a:pt x="219975" y="629329"/>
                  </a:lnTo>
                  <a:lnTo>
                    <a:pt x="220931" y="624460"/>
                  </a:lnTo>
                  <a:lnTo>
                    <a:pt x="221451" y="619204"/>
                  </a:lnTo>
                  <a:lnTo>
                    <a:pt x="217004" y="615731"/>
                  </a:lnTo>
                  <a:lnTo>
                    <a:pt x="215134" y="615949"/>
                  </a:lnTo>
                  <a:lnTo>
                    <a:pt x="210824" y="617782"/>
                  </a:lnTo>
                  <a:lnTo>
                    <a:pt x="208529" y="618064"/>
                  </a:lnTo>
                  <a:lnTo>
                    <a:pt x="206439" y="617029"/>
                  </a:lnTo>
                  <a:lnTo>
                    <a:pt x="203016" y="613414"/>
                  </a:lnTo>
                  <a:lnTo>
                    <a:pt x="200844" y="612579"/>
                  </a:lnTo>
                  <a:lnTo>
                    <a:pt x="198670" y="609626"/>
                  </a:lnTo>
                  <a:lnTo>
                    <a:pt x="201988" y="603408"/>
                  </a:lnTo>
                  <a:lnTo>
                    <a:pt x="211026" y="592402"/>
                  </a:lnTo>
                  <a:lnTo>
                    <a:pt x="213624" y="588273"/>
                  </a:lnTo>
                  <a:lnTo>
                    <a:pt x="215121" y="586937"/>
                  </a:lnTo>
                  <a:lnTo>
                    <a:pt x="217695" y="586758"/>
                  </a:lnTo>
                  <a:lnTo>
                    <a:pt x="223807" y="587610"/>
                  </a:lnTo>
                  <a:lnTo>
                    <a:pt x="225983" y="585891"/>
                  </a:lnTo>
                  <a:lnTo>
                    <a:pt x="229707" y="583818"/>
                  </a:lnTo>
                  <a:lnTo>
                    <a:pt x="234830" y="586034"/>
                  </a:lnTo>
                  <a:lnTo>
                    <a:pt x="243409" y="593069"/>
                  </a:lnTo>
                  <a:lnTo>
                    <a:pt x="247524" y="595482"/>
                  </a:lnTo>
                  <a:lnTo>
                    <a:pt x="267940" y="596328"/>
                  </a:lnTo>
                  <a:lnTo>
                    <a:pt x="268980" y="595145"/>
                  </a:lnTo>
                  <a:lnTo>
                    <a:pt x="270632" y="592440"/>
                  </a:lnTo>
                  <a:lnTo>
                    <a:pt x="274090" y="592323"/>
                  </a:lnTo>
                  <a:lnTo>
                    <a:pt x="277481" y="593385"/>
                  </a:lnTo>
                  <a:lnTo>
                    <a:pt x="278929" y="594126"/>
                  </a:lnTo>
                  <a:lnTo>
                    <a:pt x="280347" y="594166"/>
                  </a:lnTo>
                  <a:lnTo>
                    <a:pt x="280429" y="591323"/>
                  </a:lnTo>
                  <a:lnTo>
                    <a:pt x="276429" y="588595"/>
                  </a:lnTo>
                  <a:lnTo>
                    <a:pt x="258945" y="591132"/>
                  </a:lnTo>
                  <a:lnTo>
                    <a:pt x="254006" y="592973"/>
                  </a:lnTo>
                  <a:lnTo>
                    <a:pt x="251250" y="593310"/>
                  </a:lnTo>
                  <a:lnTo>
                    <a:pt x="249825" y="591852"/>
                  </a:lnTo>
                  <a:lnTo>
                    <a:pt x="244729" y="584897"/>
                  </a:lnTo>
                  <a:lnTo>
                    <a:pt x="242454" y="582603"/>
                  </a:lnTo>
                  <a:lnTo>
                    <a:pt x="225253" y="576722"/>
                  </a:lnTo>
                  <a:lnTo>
                    <a:pt x="222802" y="572722"/>
                  </a:lnTo>
                  <a:lnTo>
                    <a:pt x="224483" y="566244"/>
                  </a:lnTo>
                  <a:lnTo>
                    <a:pt x="232066" y="556020"/>
                  </a:lnTo>
                  <a:lnTo>
                    <a:pt x="234972" y="550807"/>
                  </a:lnTo>
                  <a:lnTo>
                    <a:pt x="231345" y="544206"/>
                  </a:lnTo>
                  <a:lnTo>
                    <a:pt x="236547" y="537139"/>
                  </a:lnTo>
                  <a:lnTo>
                    <a:pt x="245374" y="531832"/>
                  </a:lnTo>
                  <a:lnTo>
                    <a:pt x="252559" y="530466"/>
                  </a:lnTo>
                  <a:lnTo>
                    <a:pt x="259035" y="535732"/>
                  </a:lnTo>
                  <a:lnTo>
                    <a:pt x="265306" y="543805"/>
                  </a:lnTo>
                  <a:lnTo>
                    <a:pt x="272139" y="549341"/>
                  </a:lnTo>
                  <a:lnTo>
                    <a:pt x="280293" y="546947"/>
                  </a:lnTo>
                  <a:lnTo>
                    <a:pt x="280368" y="544352"/>
                  </a:lnTo>
                  <a:lnTo>
                    <a:pt x="271823" y="542052"/>
                  </a:lnTo>
                  <a:lnTo>
                    <a:pt x="269957" y="540256"/>
                  </a:lnTo>
                  <a:lnTo>
                    <a:pt x="267071" y="534604"/>
                  </a:lnTo>
                  <a:lnTo>
                    <a:pt x="265081" y="531947"/>
                  </a:lnTo>
                  <a:lnTo>
                    <a:pt x="263131" y="530785"/>
                  </a:lnTo>
                  <a:lnTo>
                    <a:pt x="261259" y="528147"/>
                  </a:lnTo>
                  <a:lnTo>
                    <a:pt x="264118" y="522586"/>
                  </a:lnTo>
                  <a:lnTo>
                    <a:pt x="269252" y="517311"/>
                  </a:lnTo>
                  <a:lnTo>
                    <a:pt x="274298" y="515466"/>
                  </a:lnTo>
                  <a:lnTo>
                    <a:pt x="274381" y="512623"/>
                  </a:lnTo>
                  <a:lnTo>
                    <a:pt x="269427" y="510317"/>
                  </a:lnTo>
                  <a:lnTo>
                    <a:pt x="265875" y="513353"/>
                  </a:lnTo>
                  <a:lnTo>
                    <a:pt x="263148" y="517970"/>
                  </a:lnTo>
                  <a:lnTo>
                    <a:pt x="260624" y="520289"/>
                  </a:lnTo>
                  <a:lnTo>
                    <a:pt x="257027" y="521333"/>
                  </a:lnTo>
                  <a:lnTo>
                    <a:pt x="249634" y="526348"/>
                  </a:lnTo>
                  <a:lnTo>
                    <a:pt x="245463" y="527665"/>
                  </a:lnTo>
                  <a:lnTo>
                    <a:pt x="241147" y="526924"/>
                  </a:lnTo>
                  <a:lnTo>
                    <a:pt x="233420" y="522947"/>
                  </a:lnTo>
                  <a:lnTo>
                    <a:pt x="229418" y="521933"/>
                  </a:lnTo>
                  <a:lnTo>
                    <a:pt x="220425" y="524596"/>
                  </a:lnTo>
                  <a:lnTo>
                    <a:pt x="216203" y="524115"/>
                  </a:lnTo>
                  <a:lnTo>
                    <a:pt x="214573" y="518834"/>
                  </a:lnTo>
                  <a:lnTo>
                    <a:pt x="215456" y="517557"/>
                  </a:lnTo>
                  <a:lnTo>
                    <a:pt x="220650" y="505969"/>
                  </a:lnTo>
                  <a:lnTo>
                    <a:pt x="222405" y="504206"/>
                  </a:lnTo>
                  <a:lnTo>
                    <a:pt x="226984" y="501555"/>
                  </a:lnTo>
                  <a:lnTo>
                    <a:pt x="228802" y="499608"/>
                  </a:lnTo>
                  <a:lnTo>
                    <a:pt x="230734" y="498037"/>
                  </a:lnTo>
                  <a:lnTo>
                    <a:pt x="232160" y="499622"/>
                  </a:lnTo>
                  <a:lnTo>
                    <a:pt x="233259" y="502224"/>
                  </a:lnTo>
                  <a:lnTo>
                    <a:pt x="234232" y="503561"/>
                  </a:lnTo>
                  <a:lnTo>
                    <a:pt x="239073" y="502875"/>
                  </a:lnTo>
                  <a:lnTo>
                    <a:pt x="262475" y="492505"/>
                  </a:lnTo>
                  <a:lnTo>
                    <a:pt x="271925" y="484169"/>
                  </a:lnTo>
                  <a:lnTo>
                    <a:pt x="274002" y="473466"/>
                  </a:lnTo>
                  <a:lnTo>
                    <a:pt x="270537" y="472525"/>
                  </a:lnTo>
                  <a:lnTo>
                    <a:pt x="264813" y="478141"/>
                  </a:lnTo>
                  <a:lnTo>
                    <a:pt x="255050" y="491161"/>
                  </a:lnTo>
                  <a:lnTo>
                    <a:pt x="249574" y="495130"/>
                  </a:lnTo>
                  <a:lnTo>
                    <a:pt x="244820" y="494236"/>
                  </a:lnTo>
                  <a:lnTo>
                    <a:pt x="239901" y="491656"/>
                  </a:lnTo>
                  <a:lnTo>
                    <a:pt x="233949" y="490503"/>
                  </a:lnTo>
                  <a:lnTo>
                    <a:pt x="239073" y="487399"/>
                  </a:lnTo>
                  <a:lnTo>
                    <a:pt x="240905" y="484921"/>
                  </a:lnTo>
                  <a:lnTo>
                    <a:pt x="240575" y="481598"/>
                  </a:lnTo>
                  <a:lnTo>
                    <a:pt x="238967" y="476834"/>
                  </a:lnTo>
                  <a:lnTo>
                    <a:pt x="238663" y="474305"/>
                  </a:lnTo>
                  <a:lnTo>
                    <a:pt x="237755" y="474386"/>
                  </a:lnTo>
                  <a:lnTo>
                    <a:pt x="234370" y="477482"/>
                  </a:lnTo>
                  <a:lnTo>
                    <a:pt x="219925" y="495461"/>
                  </a:lnTo>
                  <a:lnTo>
                    <a:pt x="214637" y="497963"/>
                  </a:lnTo>
                  <a:lnTo>
                    <a:pt x="203834" y="499201"/>
                  </a:lnTo>
                  <a:lnTo>
                    <a:pt x="199139" y="496614"/>
                  </a:lnTo>
                  <a:lnTo>
                    <a:pt x="196146" y="481437"/>
                  </a:lnTo>
                  <a:lnTo>
                    <a:pt x="196670" y="481782"/>
                  </a:lnTo>
                  <a:lnTo>
                    <a:pt x="197698" y="481164"/>
                  </a:lnTo>
                  <a:lnTo>
                    <a:pt x="198666" y="480093"/>
                  </a:lnTo>
                  <a:lnTo>
                    <a:pt x="199051" y="478924"/>
                  </a:lnTo>
                  <a:lnTo>
                    <a:pt x="198543" y="477632"/>
                  </a:lnTo>
                  <a:lnTo>
                    <a:pt x="196747" y="474583"/>
                  </a:lnTo>
                  <a:lnTo>
                    <a:pt x="196428" y="473373"/>
                  </a:lnTo>
                  <a:lnTo>
                    <a:pt x="196525" y="468244"/>
                  </a:lnTo>
                  <a:lnTo>
                    <a:pt x="197308" y="465736"/>
                  </a:lnTo>
                  <a:lnTo>
                    <a:pt x="199597" y="463263"/>
                  </a:lnTo>
                  <a:lnTo>
                    <a:pt x="197516" y="461947"/>
                  </a:lnTo>
                  <a:lnTo>
                    <a:pt x="191211" y="459845"/>
                  </a:lnTo>
                  <a:lnTo>
                    <a:pt x="189904" y="458913"/>
                  </a:lnTo>
                  <a:lnTo>
                    <a:pt x="189607" y="454796"/>
                  </a:lnTo>
                  <a:lnTo>
                    <a:pt x="187930" y="448110"/>
                  </a:lnTo>
                  <a:lnTo>
                    <a:pt x="187664" y="443154"/>
                  </a:lnTo>
                  <a:lnTo>
                    <a:pt x="188372" y="440442"/>
                  </a:lnTo>
                  <a:lnTo>
                    <a:pt x="191399" y="434077"/>
                  </a:lnTo>
                  <a:lnTo>
                    <a:pt x="192277" y="431696"/>
                  </a:lnTo>
                  <a:lnTo>
                    <a:pt x="192704" y="426251"/>
                  </a:lnTo>
                  <a:lnTo>
                    <a:pt x="192793" y="421401"/>
                  </a:lnTo>
                  <a:lnTo>
                    <a:pt x="193800" y="418449"/>
                  </a:lnTo>
                  <a:lnTo>
                    <a:pt x="196950" y="418591"/>
                  </a:lnTo>
                  <a:lnTo>
                    <a:pt x="196569" y="416835"/>
                  </a:lnTo>
                  <a:lnTo>
                    <a:pt x="196073" y="412462"/>
                  </a:lnTo>
                  <a:lnTo>
                    <a:pt x="195692" y="410722"/>
                  </a:lnTo>
                  <a:lnTo>
                    <a:pt x="199385" y="409357"/>
                  </a:lnTo>
                  <a:lnTo>
                    <a:pt x="203002" y="410182"/>
                  </a:lnTo>
                  <a:lnTo>
                    <a:pt x="206453" y="412665"/>
                  </a:lnTo>
                  <a:lnTo>
                    <a:pt x="217084" y="424470"/>
                  </a:lnTo>
                  <a:lnTo>
                    <a:pt x="220467" y="427195"/>
                  </a:lnTo>
                  <a:lnTo>
                    <a:pt x="222285" y="425762"/>
                  </a:lnTo>
                  <a:lnTo>
                    <a:pt x="225639" y="431378"/>
                  </a:lnTo>
                  <a:lnTo>
                    <a:pt x="227411" y="432882"/>
                  </a:lnTo>
                  <a:lnTo>
                    <a:pt x="233427" y="437462"/>
                  </a:lnTo>
                  <a:lnTo>
                    <a:pt x="235645" y="438140"/>
                  </a:lnTo>
                  <a:lnTo>
                    <a:pt x="234613" y="435961"/>
                  </a:lnTo>
                  <a:lnTo>
                    <a:pt x="234068" y="433953"/>
                  </a:lnTo>
                  <a:lnTo>
                    <a:pt x="233670" y="432058"/>
                  </a:lnTo>
                  <a:lnTo>
                    <a:pt x="233112" y="430220"/>
                  </a:lnTo>
                  <a:lnTo>
                    <a:pt x="247963" y="428076"/>
                  </a:lnTo>
                  <a:lnTo>
                    <a:pt x="256377" y="429828"/>
                  </a:lnTo>
                  <a:lnTo>
                    <a:pt x="261187" y="429834"/>
                  </a:lnTo>
                  <a:lnTo>
                    <a:pt x="262116" y="427328"/>
                  </a:lnTo>
                  <a:lnTo>
                    <a:pt x="256040" y="421840"/>
                  </a:lnTo>
                  <a:lnTo>
                    <a:pt x="246835" y="419395"/>
                  </a:lnTo>
                  <a:lnTo>
                    <a:pt x="237706" y="420382"/>
                  </a:lnTo>
                  <a:lnTo>
                    <a:pt x="231872" y="425203"/>
                  </a:lnTo>
                  <a:lnTo>
                    <a:pt x="225159" y="416680"/>
                  </a:lnTo>
                  <a:lnTo>
                    <a:pt x="226281" y="415534"/>
                  </a:lnTo>
                  <a:lnTo>
                    <a:pt x="228106" y="411813"/>
                  </a:lnTo>
                  <a:lnTo>
                    <a:pt x="221325" y="410285"/>
                  </a:lnTo>
                  <a:lnTo>
                    <a:pt x="217952" y="404216"/>
                  </a:lnTo>
                  <a:lnTo>
                    <a:pt x="215634" y="396610"/>
                  </a:lnTo>
                  <a:lnTo>
                    <a:pt x="212047" y="390377"/>
                  </a:lnTo>
                  <a:lnTo>
                    <a:pt x="208956" y="388951"/>
                  </a:lnTo>
                  <a:lnTo>
                    <a:pt x="205809" y="388408"/>
                  </a:lnTo>
                  <a:lnTo>
                    <a:pt x="203351" y="386768"/>
                  </a:lnTo>
                  <a:lnTo>
                    <a:pt x="202436" y="381977"/>
                  </a:lnTo>
                  <a:lnTo>
                    <a:pt x="203778" y="377403"/>
                  </a:lnTo>
                  <a:lnTo>
                    <a:pt x="208105" y="372838"/>
                  </a:lnTo>
                  <a:lnTo>
                    <a:pt x="207053" y="369349"/>
                  </a:lnTo>
                  <a:lnTo>
                    <a:pt x="207152" y="366506"/>
                  </a:lnTo>
                  <a:lnTo>
                    <a:pt x="214893" y="362382"/>
                  </a:lnTo>
                  <a:lnTo>
                    <a:pt x="218794" y="362326"/>
                  </a:lnTo>
                  <a:lnTo>
                    <a:pt x="224587" y="369330"/>
                  </a:lnTo>
                  <a:lnTo>
                    <a:pt x="227149" y="369057"/>
                  </a:lnTo>
                  <a:lnTo>
                    <a:pt x="229397" y="366207"/>
                  </a:lnTo>
                  <a:lnTo>
                    <a:pt x="231147" y="362079"/>
                  </a:lnTo>
                  <a:lnTo>
                    <a:pt x="228902" y="361338"/>
                  </a:lnTo>
                  <a:lnTo>
                    <a:pt x="227513" y="359347"/>
                  </a:lnTo>
                  <a:lnTo>
                    <a:pt x="226260" y="356787"/>
                  </a:lnTo>
                  <a:lnTo>
                    <a:pt x="224301" y="354249"/>
                  </a:lnTo>
                  <a:lnTo>
                    <a:pt x="221969" y="352711"/>
                  </a:lnTo>
                  <a:lnTo>
                    <a:pt x="205123" y="348145"/>
                  </a:lnTo>
                  <a:lnTo>
                    <a:pt x="204628" y="344007"/>
                  </a:lnTo>
                  <a:lnTo>
                    <a:pt x="205969" y="334128"/>
                  </a:lnTo>
                  <a:lnTo>
                    <a:pt x="205767" y="329674"/>
                  </a:lnTo>
                  <a:lnTo>
                    <a:pt x="206398" y="326553"/>
                  </a:lnTo>
                  <a:lnTo>
                    <a:pt x="204904" y="318786"/>
                  </a:lnTo>
                  <a:lnTo>
                    <a:pt x="204816" y="313977"/>
                  </a:lnTo>
                  <a:lnTo>
                    <a:pt x="205736" y="309903"/>
                  </a:lnTo>
                  <a:lnTo>
                    <a:pt x="207372" y="306226"/>
                  </a:lnTo>
                  <a:lnTo>
                    <a:pt x="209599" y="303129"/>
                  </a:lnTo>
                  <a:lnTo>
                    <a:pt x="212323" y="300967"/>
                  </a:lnTo>
                  <a:lnTo>
                    <a:pt x="217553" y="299059"/>
                  </a:lnTo>
                  <a:lnTo>
                    <a:pt x="222911" y="299176"/>
                  </a:lnTo>
                  <a:lnTo>
                    <a:pt x="228161" y="301044"/>
                  </a:lnTo>
                  <a:lnTo>
                    <a:pt x="233046" y="304486"/>
                  </a:lnTo>
                  <a:lnTo>
                    <a:pt x="232098" y="309650"/>
                  </a:lnTo>
                  <a:lnTo>
                    <a:pt x="232476" y="317235"/>
                  </a:lnTo>
                  <a:lnTo>
                    <a:pt x="233614" y="324971"/>
                  </a:lnTo>
                  <a:lnTo>
                    <a:pt x="234970" y="330646"/>
                  </a:lnTo>
                  <a:lnTo>
                    <a:pt x="236845" y="334687"/>
                  </a:lnTo>
                  <a:lnTo>
                    <a:pt x="239436" y="337663"/>
                  </a:lnTo>
                  <a:lnTo>
                    <a:pt x="242487" y="339299"/>
                  </a:lnTo>
                  <a:lnTo>
                    <a:pt x="245823" y="339297"/>
                  </a:lnTo>
                  <a:lnTo>
                    <a:pt x="244355" y="337446"/>
                  </a:lnTo>
                  <a:lnTo>
                    <a:pt x="243472" y="335505"/>
                  </a:lnTo>
                  <a:lnTo>
                    <a:pt x="242053" y="330873"/>
                  </a:lnTo>
                  <a:lnTo>
                    <a:pt x="244618" y="330798"/>
                  </a:lnTo>
                  <a:lnTo>
                    <a:pt x="246588" y="331450"/>
                  </a:lnTo>
                  <a:lnTo>
                    <a:pt x="250307" y="333962"/>
                  </a:lnTo>
                  <a:lnTo>
                    <a:pt x="249211" y="326432"/>
                  </a:lnTo>
                  <a:lnTo>
                    <a:pt x="250227" y="321052"/>
                  </a:lnTo>
                  <a:lnTo>
                    <a:pt x="250738" y="316153"/>
                  </a:lnTo>
                  <a:lnTo>
                    <a:pt x="248137" y="310177"/>
                  </a:lnTo>
                  <a:lnTo>
                    <a:pt x="240537" y="302487"/>
                  </a:lnTo>
                  <a:lnTo>
                    <a:pt x="238074" y="298053"/>
                  </a:lnTo>
                  <a:lnTo>
                    <a:pt x="240315" y="294268"/>
                  </a:lnTo>
                  <a:lnTo>
                    <a:pt x="238760" y="293782"/>
                  </a:lnTo>
                  <a:lnTo>
                    <a:pt x="238155" y="293063"/>
                  </a:lnTo>
                  <a:lnTo>
                    <a:pt x="237641" y="291570"/>
                  </a:lnTo>
                  <a:lnTo>
                    <a:pt x="239709" y="287997"/>
                  </a:lnTo>
                  <a:lnTo>
                    <a:pt x="244622" y="281777"/>
                  </a:lnTo>
                  <a:lnTo>
                    <a:pt x="246370" y="278814"/>
                  </a:lnTo>
                  <a:lnTo>
                    <a:pt x="249173" y="282635"/>
                  </a:lnTo>
                  <a:lnTo>
                    <a:pt x="251339" y="284196"/>
                  </a:lnTo>
                  <a:lnTo>
                    <a:pt x="258803" y="284427"/>
                  </a:lnTo>
                  <a:lnTo>
                    <a:pt x="257312" y="294832"/>
                  </a:lnTo>
                  <a:lnTo>
                    <a:pt x="262834" y="302715"/>
                  </a:lnTo>
                  <a:lnTo>
                    <a:pt x="271000" y="307439"/>
                  </a:lnTo>
                  <a:lnTo>
                    <a:pt x="277493" y="308454"/>
                  </a:lnTo>
                  <a:lnTo>
                    <a:pt x="276313" y="305823"/>
                  </a:lnTo>
                  <a:lnTo>
                    <a:pt x="278875" y="302602"/>
                  </a:lnTo>
                  <a:lnTo>
                    <a:pt x="281619" y="291779"/>
                  </a:lnTo>
                  <a:lnTo>
                    <a:pt x="283664" y="287780"/>
                  </a:lnTo>
                  <a:lnTo>
                    <a:pt x="286247" y="287901"/>
                  </a:lnTo>
                  <a:lnTo>
                    <a:pt x="295349" y="292218"/>
                  </a:lnTo>
                  <a:lnTo>
                    <a:pt x="298099" y="294690"/>
                  </a:lnTo>
                  <a:lnTo>
                    <a:pt x="303617" y="301716"/>
                  </a:lnTo>
                  <a:lnTo>
                    <a:pt x="310337" y="306191"/>
                  </a:lnTo>
                  <a:lnTo>
                    <a:pt x="324872" y="312375"/>
                  </a:lnTo>
                  <a:lnTo>
                    <a:pt x="322018" y="306982"/>
                  </a:lnTo>
                  <a:lnTo>
                    <a:pt x="319799" y="304545"/>
                  </a:lnTo>
                  <a:lnTo>
                    <a:pt x="313936" y="301653"/>
                  </a:lnTo>
                  <a:lnTo>
                    <a:pt x="305274" y="292120"/>
                  </a:lnTo>
                  <a:lnTo>
                    <a:pt x="292401" y="285790"/>
                  </a:lnTo>
                  <a:lnTo>
                    <a:pt x="290827" y="284192"/>
                  </a:lnTo>
                  <a:lnTo>
                    <a:pt x="290584" y="282007"/>
                  </a:lnTo>
                  <a:lnTo>
                    <a:pt x="290114" y="281107"/>
                  </a:lnTo>
                  <a:lnTo>
                    <a:pt x="290045" y="280079"/>
                  </a:lnTo>
                  <a:lnTo>
                    <a:pt x="291019" y="277541"/>
                  </a:lnTo>
                  <a:lnTo>
                    <a:pt x="292315" y="277267"/>
                  </a:lnTo>
                  <a:lnTo>
                    <a:pt x="293800" y="279066"/>
                  </a:lnTo>
                  <a:lnTo>
                    <a:pt x="295261" y="279403"/>
                  </a:lnTo>
                  <a:lnTo>
                    <a:pt x="296514" y="274850"/>
                  </a:lnTo>
                  <a:lnTo>
                    <a:pt x="300307" y="277382"/>
                  </a:lnTo>
                  <a:lnTo>
                    <a:pt x="305752" y="285928"/>
                  </a:lnTo>
                  <a:lnTo>
                    <a:pt x="310111" y="288519"/>
                  </a:lnTo>
                  <a:lnTo>
                    <a:pt x="312420" y="288395"/>
                  </a:lnTo>
                  <a:lnTo>
                    <a:pt x="316340" y="286494"/>
                  </a:lnTo>
                  <a:lnTo>
                    <a:pt x="318523" y="286132"/>
                  </a:lnTo>
                  <a:lnTo>
                    <a:pt x="321061" y="287038"/>
                  </a:lnTo>
                  <a:lnTo>
                    <a:pt x="325564" y="290547"/>
                  </a:lnTo>
                  <a:lnTo>
                    <a:pt x="327519" y="291343"/>
                  </a:lnTo>
                  <a:lnTo>
                    <a:pt x="330012" y="293055"/>
                  </a:lnTo>
                  <a:lnTo>
                    <a:pt x="337244" y="300608"/>
                  </a:lnTo>
                  <a:lnTo>
                    <a:pt x="345734" y="304830"/>
                  </a:lnTo>
                  <a:lnTo>
                    <a:pt x="351338" y="315540"/>
                  </a:lnTo>
                  <a:lnTo>
                    <a:pt x="355411" y="318357"/>
                  </a:lnTo>
                  <a:lnTo>
                    <a:pt x="354301" y="316295"/>
                  </a:lnTo>
                  <a:lnTo>
                    <a:pt x="352978" y="312811"/>
                  </a:lnTo>
                  <a:lnTo>
                    <a:pt x="351860" y="309083"/>
                  </a:lnTo>
                  <a:lnTo>
                    <a:pt x="351412" y="306414"/>
                  </a:lnTo>
                  <a:lnTo>
                    <a:pt x="350400" y="303824"/>
                  </a:lnTo>
                  <a:lnTo>
                    <a:pt x="330526" y="285387"/>
                  </a:lnTo>
                  <a:lnTo>
                    <a:pt x="325622" y="283939"/>
                  </a:lnTo>
                  <a:lnTo>
                    <a:pt x="325697" y="281095"/>
                  </a:lnTo>
                  <a:lnTo>
                    <a:pt x="329692" y="281245"/>
                  </a:lnTo>
                  <a:lnTo>
                    <a:pt x="331374" y="278489"/>
                  </a:lnTo>
                  <a:lnTo>
                    <a:pt x="331168" y="274021"/>
                  </a:lnTo>
                  <a:lnTo>
                    <a:pt x="329478" y="269204"/>
                  </a:lnTo>
                  <a:lnTo>
                    <a:pt x="327061" y="266949"/>
                  </a:lnTo>
                  <a:lnTo>
                    <a:pt x="320573" y="265443"/>
                  </a:lnTo>
                  <a:lnTo>
                    <a:pt x="317753" y="262633"/>
                  </a:lnTo>
                  <a:lnTo>
                    <a:pt x="311826" y="260919"/>
                  </a:lnTo>
                  <a:lnTo>
                    <a:pt x="303767" y="250032"/>
                  </a:lnTo>
                  <a:lnTo>
                    <a:pt x="298642" y="248801"/>
                  </a:lnTo>
                  <a:lnTo>
                    <a:pt x="299116" y="247788"/>
                  </a:lnTo>
                  <a:lnTo>
                    <a:pt x="299223" y="247481"/>
                  </a:lnTo>
                  <a:lnTo>
                    <a:pt x="300216" y="246497"/>
                  </a:lnTo>
                  <a:lnTo>
                    <a:pt x="297301" y="242077"/>
                  </a:lnTo>
                  <a:lnTo>
                    <a:pt x="293365" y="240567"/>
                  </a:lnTo>
                  <a:lnTo>
                    <a:pt x="285045" y="240842"/>
                  </a:lnTo>
                  <a:lnTo>
                    <a:pt x="285768" y="239199"/>
                  </a:lnTo>
                  <a:lnTo>
                    <a:pt x="286202" y="237905"/>
                  </a:lnTo>
                  <a:lnTo>
                    <a:pt x="286796" y="236740"/>
                  </a:lnTo>
                  <a:lnTo>
                    <a:pt x="287978" y="235468"/>
                  </a:lnTo>
                  <a:lnTo>
                    <a:pt x="288054" y="232858"/>
                  </a:lnTo>
                  <a:lnTo>
                    <a:pt x="281730" y="220421"/>
                  </a:lnTo>
                  <a:lnTo>
                    <a:pt x="285705" y="215343"/>
                  </a:lnTo>
                  <a:lnTo>
                    <a:pt x="293323" y="217769"/>
                  </a:lnTo>
                  <a:lnTo>
                    <a:pt x="297853" y="227911"/>
                  </a:lnTo>
                  <a:lnTo>
                    <a:pt x="302380" y="224398"/>
                  </a:lnTo>
                  <a:lnTo>
                    <a:pt x="306673" y="225963"/>
                  </a:lnTo>
                  <a:lnTo>
                    <a:pt x="311120" y="226690"/>
                  </a:lnTo>
                  <a:lnTo>
                    <a:pt x="316141" y="220607"/>
                  </a:lnTo>
                  <a:lnTo>
                    <a:pt x="314867" y="220573"/>
                  </a:lnTo>
                  <a:lnTo>
                    <a:pt x="315980" y="216839"/>
                  </a:lnTo>
                  <a:lnTo>
                    <a:pt x="315927" y="213355"/>
                  </a:lnTo>
                  <a:lnTo>
                    <a:pt x="315051" y="210236"/>
                  </a:lnTo>
                  <a:lnTo>
                    <a:pt x="313721" y="207495"/>
                  </a:lnTo>
                  <a:lnTo>
                    <a:pt x="316496" y="207570"/>
                  </a:lnTo>
                  <a:lnTo>
                    <a:pt x="316567" y="204959"/>
                  </a:lnTo>
                  <a:lnTo>
                    <a:pt x="312492" y="202004"/>
                  </a:lnTo>
                  <a:lnTo>
                    <a:pt x="315222" y="200072"/>
                  </a:lnTo>
                  <a:lnTo>
                    <a:pt x="321021" y="198812"/>
                  </a:lnTo>
                  <a:lnTo>
                    <a:pt x="323780" y="197314"/>
                  </a:lnTo>
                  <a:lnTo>
                    <a:pt x="323856" y="194470"/>
                  </a:lnTo>
                  <a:lnTo>
                    <a:pt x="317194" y="194606"/>
                  </a:lnTo>
                  <a:lnTo>
                    <a:pt x="314030" y="193836"/>
                  </a:lnTo>
                  <a:lnTo>
                    <a:pt x="311277" y="191555"/>
                  </a:lnTo>
                  <a:lnTo>
                    <a:pt x="312845" y="189186"/>
                  </a:lnTo>
                  <a:lnTo>
                    <a:pt x="311396" y="187266"/>
                  </a:lnTo>
                  <a:lnTo>
                    <a:pt x="309774" y="185697"/>
                  </a:lnTo>
                  <a:lnTo>
                    <a:pt x="308026" y="184530"/>
                  </a:lnTo>
                  <a:lnTo>
                    <a:pt x="306119" y="183794"/>
                  </a:lnTo>
                  <a:lnTo>
                    <a:pt x="306595" y="182018"/>
                  </a:lnTo>
                  <a:lnTo>
                    <a:pt x="307360" y="177561"/>
                  </a:lnTo>
                  <a:lnTo>
                    <a:pt x="307852" y="175788"/>
                  </a:lnTo>
                  <a:lnTo>
                    <a:pt x="305264" y="175684"/>
                  </a:lnTo>
                  <a:lnTo>
                    <a:pt x="303297" y="174230"/>
                  </a:lnTo>
                  <a:lnTo>
                    <a:pt x="294435" y="159521"/>
                  </a:lnTo>
                  <a:lnTo>
                    <a:pt x="294783" y="153156"/>
                  </a:lnTo>
                  <a:lnTo>
                    <a:pt x="298069" y="152160"/>
                  </a:lnTo>
                  <a:lnTo>
                    <a:pt x="302632" y="154310"/>
                  </a:lnTo>
                  <a:lnTo>
                    <a:pt x="310934" y="160478"/>
                  </a:lnTo>
                  <a:lnTo>
                    <a:pt x="314312" y="161517"/>
                  </a:lnTo>
                  <a:lnTo>
                    <a:pt x="317734" y="160662"/>
                  </a:lnTo>
                  <a:lnTo>
                    <a:pt x="325858" y="155434"/>
                  </a:lnTo>
                  <a:lnTo>
                    <a:pt x="330166" y="154100"/>
                  </a:lnTo>
                  <a:lnTo>
                    <a:pt x="334519" y="154757"/>
                  </a:lnTo>
                  <a:lnTo>
                    <a:pt x="338676" y="158329"/>
                  </a:lnTo>
                  <a:lnTo>
                    <a:pt x="340269" y="155571"/>
                  </a:lnTo>
                  <a:lnTo>
                    <a:pt x="343025" y="153121"/>
                  </a:lnTo>
                  <a:lnTo>
                    <a:pt x="345867" y="151373"/>
                  </a:lnTo>
                  <a:lnTo>
                    <a:pt x="347684" y="150734"/>
                  </a:lnTo>
                  <a:lnTo>
                    <a:pt x="351236" y="152017"/>
                  </a:lnTo>
                  <a:lnTo>
                    <a:pt x="357188" y="157572"/>
                  </a:lnTo>
                  <a:lnTo>
                    <a:pt x="359892" y="158849"/>
                  </a:lnTo>
                  <a:lnTo>
                    <a:pt x="369961" y="158198"/>
                  </a:lnTo>
                  <a:lnTo>
                    <a:pt x="373016" y="159154"/>
                  </a:lnTo>
                  <a:lnTo>
                    <a:pt x="386625" y="170107"/>
                  </a:lnTo>
                  <a:lnTo>
                    <a:pt x="384733" y="166039"/>
                  </a:lnTo>
                  <a:lnTo>
                    <a:pt x="382494" y="163611"/>
                  </a:lnTo>
                  <a:lnTo>
                    <a:pt x="377124" y="159247"/>
                  </a:lnTo>
                  <a:lnTo>
                    <a:pt x="379818" y="157069"/>
                  </a:lnTo>
                  <a:lnTo>
                    <a:pt x="385576" y="156170"/>
                  </a:lnTo>
                  <a:lnTo>
                    <a:pt x="388351" y="154271"/>
                  </a:lnTo>
                  <a:lnTo>
                    <a:pt x="375652" y="151378"/>
                  </a:lnTo>
                  <a:lnTo>
                    <a:pt x="371693" y="151304"/>
                  </a:lnTo>
                  <a:lnTo>
                    <a:pt x="370033" y="152323"/>
                  </a:lnTo>
                  <a:lnTo>
                    <a:pt x="367679" y="155673"/>
                  </a:lnTo>
                  <a:lnTo>
                    <a:pt x="365518" y="156369"/>
                  </a:lnTo>
                  <a:lnTo>
                    <a:pt x="363509" y="155499"/>
                  </a:lnTo>
                  <a:lnTo>
                    <a:pt x="359456" y="151842"/>
                  </a:lnTo>
                  <a:lnTo>
                    <a:pt x="357276" y="150967"/>
                  </a:lnTo>
                  <a:lnTo>
                    <a:pt x="354358" y="148844"/>
                  </a:lnTo>
                  <a:lnTo>
                    <a:pt x="348646" y="139750"/>
                  </a:lnTo>
                  <a:lnTo>
                    <a:pt x="346639" y="137648"/>
                  </a:lnTo>
                  <a:lnTo>
                    <a:pt x="346429" y="136228"/>
                  </a:lnTo>
                  <a:lnTo>
                    <a:pt x="342781" y="130276"/>
                  </a:lnTo>
                  <a:lnTo>
                    <a:pt x="342041" y="129495"/>
                  </a:lnTo>
                  <a:lnTo>
                    <a:pt x="340630" y="124625"/>
                  </a:lnTo>
                  <a:lnTo>
                    <a:pt x="340058" y="121782"/>
                  </a:lnTo>
                  <a:lnTo>
                    <a:pt x="339689" y="118988"/>
                  </a:lnTo>
                  <a:lnTo>
                    <a:pt x="343678" y="119088"/>
                  </a:lnTo>
                  <a:lnTo>
                    <a:pt x="341759" y="114983"/>
                  </a:lnTo>
                  <a:lnTo>
                    <a:pt x="341954" y="111195"/>
                  </a:lnTo>
                  <a:lnTo>
                    <a:pt x="343454" y="107422"/>
                  </a:lnTo>
                  <a:lnTo>
                    <a:pt x="345447" y="103461"/>
                  </a:lnTo>
                  <a:lnTo>
                    <a:pt x="345691" y="101524"/>
                  </a:lnTo>
                  <a:lnTo>
                    <a:pt x="345511" y="99001"/>
                  </a:lnTo>
                  <a:lnTo>
                    <a:pt x="345542" y="96794"/>
                  </a:lnTo>
                  <a:lnTo>
                    <a:pt x="346323" y="95912"/>
                  </a:lnTo>
                  <a:lnTo>
                    <a:pt x="347828" y="96337"/>
                  </a:lnTo>
                  <a:lnTo>
                    <a:pt x="350443" y="98004"/>
                  </a:lnTo>
                  <a:lnTo>
                    <a:pt x="351672" y="98407"/>
                  </a:lnTo>
                  <a:lnTo>
                    <a:pt x="363100" y="106827"/>
                  </a:lnTo>
                  <a:lnTo>
                    <a:pt x="371479" y="106696"/>
                  </a:lnTo>
                  <a:lnTo>
                    <a:pt x="366029" y="101999"/>
                  </a:lnTo>
                  <a:lnTo>
                    <a:pt x="364199" y="99453"/>
                  </a:lnTo>
                  <a:lnTo>
                    <a:pt x="364893" y="96361"/>
                  </a:lnTo>
                  <a:lnTo>
                    <a:pt x="363609" y="93500"/>
                  </a:lnTo>
                  <a:lnTo>
                    <a:pt x="361738" y="95384"/>
                  </a:lnTo>
                  <a:lnTo>
                    <a:pt x="359710" y="96346"/>
                  </a:lnTo>
                  <a:lnTo>
                    <a:pt x="357570" y="96528"/>
                  </a:lnTo>
                  <a:lnTo>
                    <a:pt x="355330" y="96133"/>
                  </a:lnTo>
                  <a:lnTo>
                    <a:pt x="355401" y="93304"/>
                  </a:lnTo>
                  <a:lnTo>
                    <a:pt x="357385" y="93445"/>
                  </a:lnTo>
                  <a:lnTo>
                    <a:pt x="358006" y="93367"/>
                  </a:lnTo>
                  <a:lnTo>
                    <a:pt x="358070" y="90757"/>
                  </a:lnTo>
                  <a:lnTo>
                    <a:pt x="356725" y="90444"/>
                  </a:lnTo>
                  <a:lnTo>
                    <a:pt x="355895" y="89771"/>
                  </a:lnTo>
                  <a:lnTo>
                    <a:pt x="354038" y="87800"/>
                  </a:lnTo>
                  <a:lnTo>
                    <a:pt x="365283" y="81460"/>
                  </a:lnTo>
                  <a:lnTo>
                    <a:pt x="370142" y="83905"/>
                  </a:lnTo>
                  <a:lnTo>
                    <a:pt x="376031" y="88317"/>
                  </a:lnTo>
                  <a:lnTo>
                    <a:pt x="354519" y="68377"/>
                  </a:lnTo>
                  <a:lnTo>
                    <a:pt x="354675" y="61432"/>
                  </a:lnTo>
                  <a:lnTo>
                    <a:pt x="355147" y="58132"/>
                  </a:lnTo>
                  <a:lnTo>
                    <a:pt x="356750" y="56398"/>
                  </a:lnTo>
                  <a:lnTo>
                    <a:pt x="367491" y="50311"/>
                  </a:lnTo>
                  <a:lnTo>
                    <a:pt x="370524" y="47086"/>
                  </a:lnTo>
                  <a:lnTo>
                    <a:pt x="373015" y="41298"/>
                  </a:lnTo>
                  <a:lnTo>
                    <a:pt x="371668" y="41267"/>
                  </a:lnTo>
                  <a:lnTo>
                    <a:pt x="373395" y="33411"/>
                  </a:lnTo>
                  <a:lnTo>
                    <a:pt x="374300" y="25597"/>
                  </a:lnTo>
                  <a:lnTo>
                    <a:pt x="375773" y="19069"/>
                  </a:lnTo>
                  <a:lnTo>
                    <a:pt x="379203" y="15106"/>
                  </a:lnTo>
                  <a:lnTo>
                    <a:pt x="404689" y="21425"/>
                  </a:lnTo>
                  <a:lnTo>
                    <a:pt x="409314" y="24644"/>
                  </a:lnTo>
                  <a:lnTo>
                    <a:pt x="412768" y="29347"/>
                  </a:lnTo>
                  <a:lnTo>
                    <a:pt x="412758" y="31383"/>
                  </a:lnTo>
                  <a:lnTo>
                    <a:pt x="413657" y="37370"/>
                  </a:lnTo>
                  <a:lnTo>
                    <a:pt x="414760" y="42568"/>
                  </a:lnTo>
                  <a:lnTo>
                    <a:pt x="415352" y="42207"/>
                  </a:lnTo>
                  <a:lnTo>
                    <a:pt x="415111" y="46431"/>
                  </a:lnTo>
                  <a:lnTo>
                    <a:pt x="414516" y="49745"/>
                  </a:lnTo>
                  <a:lnTo>
                    <a:pt x="413580" y="52618"/>
                  </a:lnTo>
                  <a:lnTo>
                    <a:pt x="412231" y="55421"/>
                  </a:lnTo>
                  <a:lnTo>
                    <a:pt x="415946" y="52510"/>
                  </a:lnTo>
                  <a:lnTo>
                    <a:pt x="417608" y="49030"/>
                  </a:lnTo>
                  <a:lnTo>
                    <a:pt x="418067" y="45184"/>
                  </a:lnTo>
                  <a:lnTo>
                    <a:pt x="418101" y="41081"/>
                  </a:lnTo>
                  <a:lnTo>
                    <a:pt x="419089" y="35535"/>
                  </a:lnTo>
                  <a:lnTo>
                    <a:pt x="420864" y="33176"/>
                  </a:lnTo>
                  <a:lnTo>
                    <a:pt x="422012" y="30494"/>
                  </a:lnTo>
                  <a:lnTo>
                    <a:pt x="421159" y="24074"/>
                  </a:lnTo>
                  <a:lnTo>
                    <a:pt x="424615" y="27219"/>
                  </a:lnTo>
                  <a:lnTo>
                    <a:pt x="430598" y="35601"/>
                  </a:lnTo>
                  <a:lnTo>
                    <a:pt x="433890" y="37341"/>
                  </a:lnTo>
                  <a:lnTo>
                    <a:pt x="439404" y="41858"/>
                  </a:lnTo>
                  <a:lnTo>
                    <a:pt x="441952" y="42712"/>
                  </a:lnTo>
                  <a:lnTo>
                    <a:pt x="443997" y="44101"/>
                  </a:lnTo>
                  <a:lnTo>
                    <a:pt x="444085" y="47273"/>
                  </a:lnTo>
                  <a:lnTo>
                    <a:pt x="443234" y="50755"/>
                  </a:lnTo>
                  <a:lnTo>
                    <a:pt x="442377" y="53165"/>
                  </a:lnTo>
                  <a:lnTo>
                    <a:pt x="439982" y="56231"/>
                  </a:lnTo>
                  <a:lnTo>
                    <a:pt x="432775" y="63094"/>
                  </a:lnTo>
                  <a:lnTo>
                    <a:pt x="429007" y="72629"/>
                  </a:lnTo>
                  <a:lnTo>
                    <a:pt x="425045" y="79750"/>
                  </a:lnTo>
                  <a:lnTo>
                    <a:pt x="423055" y="84920"/>
                  </a:lnTo>
                  <a:lnTo>
                    <a:pt x="426777" y="84400"/>
                  </a:lnTo>
                  <a:lnTo>
                    <a:pt x="438915" y="71242"/>
                  </a:lnTo>
                  <a:lnTo>
                    <a:pt x="440837" y="70204"/>
                  </a:lnTo>
                  <a:lnTo>
                    <a:pt x="442263" y="64293"/>
                  </a:lnTo>
                  <a:lnTo>
                    <a:pt x="445578" y="61662"/>
                  </a:lnTo>
                  <a:lnTo>
                    <a:pt x="449617" y="59821"/>
                  </a:lnTo>
                  <a:lnTo>
                    <a:pt x="453337" y="56187"/>
                  </a:lnTo>
                  <a:lnTo>
                    <a:pt x="455661" y="49620"/>
                  </a:lnTo>
                  <a:lnTo>
                    <a:pt x="456965" y="42741"/>
                  </a:lnTo>
                  <a:lnTo>
                    <a:pt x="459086" y="37367"/>
                  </a:lnTo>
                  <a:lnTo>
                    <a:pt x="463989" y="35257"/>
                  </a:lnTo>
                  <a:lnTo>
                    <a:pt x="472540" y="37073"/>
                  </a:lnTo>
                  <a:lnTo>
                    <a:pt x="480850" y="40979"/>
                  </a:lnTo>
                  <a:lnTo>
                    <a:pt x="490508" y="48475"/>
                  </a:lnTo>
                  <a:lnTo>
                    <a:pt x="490466" y="51334"/>
                  </a:lnTo>
                  <a:lnTo>
                    <a:pt x="490169" y="52697"/>
                  </a:lnTo>
                  <a:lnTo>
                    <a:pt x="490004" y="52912"/>
                  </a:lnTo>
                  <a:lnTo>
                    <a:pt x="490385" y="56773"/>
                  </a:lnTo>
                  <a:lnTo>
                    <a:pt x="485624" y="62220"/>
                  </a:lnTo>
                  <a:lnTo>
                    <a:pt x="482560" y="69122"/>
                  </a:lnTo>
                  <a:lnTo>
                    <a:pt x="479861" y="76978"/>
                  </a:lnTo>
                  <a:lnTo>
                    <a:pt x="476191" y="85253"/>
                  </a:lnTo>
                  <a:lnTo>
                    <a:pt x="479666" y="83767"/>
                  </a:lnTo>
                  <a:lnTo>
                    <a:pt x="483103" y="80415"/>
                  </a:lnTo>
                  <a:lnTo>
                    <a:pt x="488674" y="72416"/>
                  </a:lnTo>
                  <a:lnTo>
                    <a:pt x="488932" y="70895"/>
                  </a:lnTo>
                  <a:lnTo>
                    <a:pt x="488708" y="69074"/>
                  </a:lnTo>
                  <a:lnTo>
                    <a:pt x="488681" y="67581"/>
                  </a:lnTo>
                  <a:lnTo>
                    <a:pt x="489503" y="66940"/>
                  </a:lnTo>
                  <a:lnTo>
                    <a:pt x="490355" y="66533"/>
                  </a:lnTo>
                  <a:lnTo>
                    <a:pt x="498584" y="57743"/>
                  </a:lnTo>
                  <a:lnTo>
                    <a:pt x="499189" y="56898"/>
                  </a:lnTo>
                  <a:lnTo>
                    <a:pt x="506953" y="51562"/>
                  </a:lnTo>
                  <a:lnTo>
                    <a:pt x="512346" y="49022"/>
                  </a:lnTo>
                  <a:lnTo>
                    <a:pt x="514346" y="48800"/>
                  </a:lnTo>
                  <a:lnTo>
                    <a:pt x="518282" y="50169"/>
                  </a:lnTo>
                  <a:lnTo>
                    <a:pt x="524169" y="55946"/>
                  </a:lnTo>
                  <a:lnTo>
                    <a:pt x="528661" y="57274"/>
                  </a:lnTo>
                  <a:lnTo>
                    <a:pt x="525861" y="54411"/>
                  </a:lnTo>
                  <a:lnTo>
                    <a:pt x="528025" y="52759"/>
                  </a:lnTo>
                  <a:lnTo>
                    <a:pt x="529238" y="50488"/>
                  </a:lnTo>
                  <a:lnTo>
                    <a:pt x="530173" y="48308"/>
                  </a:lnTo>
                  <a:lnTo>
                    <a:pt x="531521" y="46878"/>
                  </a:lnTo>
                  <a:lnTo>
                    <a:pt x="533781" y="46531"/>
                  </a:lnTo>
                  <a:lnTo>
                    <a:pt x="537533" y="48516"/>
                  </a:lnTo>
                  <a:lnTo>
                    <a:pt x="540278" y="49106"/>
                  </a:lnTo>
                  <a:lnTo>
                    <a:pt x="542044" y="47974"/>
                  </a:lnTo>
                  <a:lnTo>
                    <a:pt x="543624" y="42955"/>
                  </a:lnTo>
                  <a:lnTo>
                    <a:pt x="545876" y="41813"/>
                  </a:lnTo>
                  <a:lnTo>
                    <a:pt x="553477" y="41891"/>
                  </a:lnTo>
                  <a:lnTo>
                    <a:pt x="557642" y="43284"/>
                  </a:lnTo>
                  <a:lnTo>
                    <a:pt x="559393" y="43393"/>
                  </a:lnTo>
                  <a:lnTo>
                    <a:pt x="561646" y="41969"/>
                  </a:lnTo>
                  <a:lnTo>
                    <a:pt x="563408" y="39235"/>
                  </a:lnTo>
                  <a:lnTo>
                    <a:pt x="565998" y="32856"/>
                  </a:lnTo>
                  <a:lnTo>
                    <a:pt x="567809" y="31598"/>
                  </a:lnTo>
                  <a:lnTo>
                    <a:pt x="569637" y="31178"/>
                  </a:lnTo>
                  <a:lnTo>
                    <a:pt x="569956" y="30761"/>
                  </a:lnTo>
                  <a:lnTo>
                    <a:pt x="570191" y="31696"/>
                  </a:lnTo>
                  <a:lnTo>
                    <a:pt x="573824" y="39140"/>
                  </a:lnTo>
                  <a:lnTo>
                    <a:pt x="574910" y="40175"/>
                  </a:lnTo>
                  <a:lnTo>
                    <a:pt x="579371" y="39279"/>
                  </a:lnTo>
                  <a:lnTo>
                    <a:pt x="596432" y="42250"/>
                  </a:lnTo>
                  <a:lnTo>
                    <a:pt x="613517" y="39512"/>
                  </a:lnTo>
                  <a:lnTo>
                    <a:pt x="622144" y="35486"/>
                  </a:lnTo>
                  <a:lnTo>
                    <a:pt x="635857" y="25072"/>
                  </a:lnTo>
                  <a:lnTo>
                    <a:pt x="643526" y="21402"/>
                  </a:lnTo>
                  <a:lnTo>
                    <a:pt x="655942" y="19029"/>
                  </a:lnTo>
                  <a:lnTo>
                    <a:pt x="662323" y="19246"/>
                  </a:lnTo>
                  <a:lnTo>
                    <a:pt x="666879" y="21461"/>
                  </a:lnTo>
                  <a:lnTo>
                    <a:pt x="664906" y="23509"/>
                  </a:lnTo>
                  <a:lnTo>
                    <a:pt x="664152" y="24068"/>
                  </a:lnTo>
                  <a:lnTo>
                    <a:pt x="668966" y="28613"/>
                  </a:lnTo>
                  <a:lnTo>
                    <a:pt x="674550" y="28154"/>
                  </a:lnTo>
                  <a:lnTo>
                    <a:pt x="685905" y="24092"/>
                  </a:lnTo>
                  <a:lnTo>
                    <a:pt x="696966" y="29187"/>
                  </a:lnTo>
                  <a:lnTo>
                    <a:pt x="702421" y="29122"/>
                  </a:lnTo>
                  <a:lnTo>
                    <a:pt x="705054" y="21474"/>
                  </a:lnTo>
                  <a:lnTo>
                    <a:pt x="701684" y="19999"/>
                  </a:lnTo>
                  <a:lnTo>
                    <a:pt x="698037" y="17314"/>
                  </a:lnTo>
                  <a:lnTo>
                    <a:pt x="694813" y="13383"/>
                  </a:lnTo>
                  <a:lnTo>
                    <a:pt x="692691" y="8209"/>
                  </a:lnTo>
                  <a:lnTo>
                    <a:pt x="697236" y="2022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166">
              <a:extLst>
                <a:ext uri="{FF2B5EF4-FFF2-40B4-BE49-F238E27FC236}">
                  <a16:creationId xmlns:a16="http://schemas.microsoft.com/office/drawing/2014/main" id="{01F9FC8D-2805-43DA-843B-F6374EA04BFE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580093" y="4475918"/>
              <a:ext cx="1254557" cy="1316973"/>
            </a:xfrm>
            <a:custGeom>
              <a:avLst/>
              <a:gdLst/>
              <a:ahLst/>
              <a:cxnLst/>
              <a:rect l="l" t="t" r="r" b="b"/>
              <a:pathLst>
                <a:path w="512870" h="538386">
                  <a:moveTo>
                    <a:pt x="354182" y="378298"/>
                  </a:moveTo>
                  <a:lnTo>
                    <a:pt x="355932" y="378718"/>
                  </a:lnTo>
                  <a:lnTo>
                    <a:pt x="369705" y="386152"/>
                  </a:lnTo>
                  <a:lnTo>
                    <a:pt x="373415" y="389853"/>
                  </a:lnTo>
                  <a:lnTo>
                    <a:pt x="377687" y="397099"/>
                  </a:lnTo>
                  <a:lnTo>
                    <a:pt x="380501" y="405288"/>
                  </a:lnTo>
                  <a:lnTo>
                    <a:pt x="384353" y="424280"/>
                  </a:lnTo>
                  <a:lnTo>
                    <a:pt x="381750" y="429381"/>
                  </a:lnTo>
                  <a:lnTo>
                    <a:pt x="390844" y="439337"/>
                  </a:lnTo>
                  <a:lnTo>
                    <a:pt x="391149" y="447914"/>
                  </a:lnTo>
                  <a:lnTo>
                    <a:pt x="388998" y="449169"/>
                  </a:lnTo>
                  <a:lnTo>
                    <a:pt x="385891" y="449203"/>
                  </a:lnTo>
                  <a:lnTo>
                    <a:pt x="383871" y="450491"/>
                  </a:lnTo>
                  <a:lnTo>
                    <a:pt x="384934" y="455603"/>
                  </a:lnTo>
                  <a:lnTo>
                    <a:pt x="386668" y="457061"/>
                  </a:lnTo>
                  <a:lnTo>
                    <a:pt x="395390" y="461313"/>
                  </a:lnTo>
                  <a:lnTo>
                    <a:pt x="390502" y="464603"/>
                  </a:lnTo>
                  <a:lnTo>
                    <a:pt x="390805" y="469635"/>
                  </a:lnTo>
                  <a:lnTo>
                    <a:pt x="392882" y="475656"/>
                  </a:lnTo>
                  <a:lnTo>
                    <a:pt x="393289" y="481918"/>
                  </a:lnTo>
                  <a:lnTo>
                    <a:pt x="390217" y="485360"/>
                  </a:lnTo>
                  <a:lnTo>
                    <a:pt x="384578" y="487650"/>
                  </a:lnTo>
                  <a:lnTo>
                    <a:pt x="374612" y="489272"/>
                  </a:lnTo>
                  <a:lnTo>
                    <a:pt x="362984" y="487797"/>
                  </a:lnTo>
                  <a:lnTo>
                    <a:pt x="353167" y="484010"/>
                  </a:lnTo>
                  <a:lnTo>
                    <a:pt x="344312" y="478066"/>
                  </a:lnTo>
                  <a:lnTo>
                    <a:pt x="335646" y="469991"/>
                  </a:lnTo>
                  <a:lnTo>
                    <a:pt x="335717" y="467394"/>
                  </a:lnTo>
                  <a:lnTo>
                    <a:pt x="335681" y="464873"/>
                  </a:lnTo>
                  <a:lnTo>
                    <a:pt x="333985" y="454560"/>
                  </a:lnTo>
                  <a:lnTo>
                    <a:pt x="333194" y="451645"/>
                  </a:lnTo>
                  <a:lnTo>
                    <a:pt x="333267" y="449034"/>
                  </a:lnTo>
                  <a:lnTo>
                    <a:pt x="334401" y="448117"/>
                  </a:lnTo>
                  <a:lnTo>
                    <a:pt x="334850" y="447164"/>
                  </a:lnTo>
                  <a:lnTo>
                    <a:pt x="335288" y="445963"/>
                  </a:lnTo>
                  <a:lnTo>
                    <a:pt x="336359" y="444158"/>
                  </a:lnTo>
                  <a:lnTo>
                    <a:pt x="331227" y="436378"/>
                  </a:lnTo>
                  <a:lnTo>
                    <a:pt x="327418" y="428634"/>
                  </a:lnTo>
                  <a:lnTo>
                    <a:pt x="325780" y="419425"/>
                  </a:lnTo>
                  <a:lnTo>
                    <a:pt x="327201" y="407099"/>
                  </a:lnTo>
                  <a:lnTo>
                    <a:pt x="330344" y="398944"/>
                  </a:lnTo>
                  <a:lnTo>
                    <a:pt x="335779" y="390882"/>
                  </a:lnTo>
                  <a:lnTo>
                    <a:pt x="342589" y="385173"/>
                  </a:lnTo>
                  <a:lnTo>
                    <a:pt x="349903" y="384017"/>
                  </a:lnTo>
                  <a:lnTo>
                    <a:pt x="349491" y="382700"/>
                  </a:lnTo>
                  <a:lnTo>
                    <a:pt x="349017" y="379840"/>
                  </a:lnTo>
                  <a:lnTo>
                    <a:pt x="348579" y="378522"/>
                  </a:lnTo>
                  <a:close/>
                  <a:moveTo>
                    <a:pt x="378542" y="303613"/>
                  </a:moveTo>
                  <a:lnTo>
                    <a:pt x="385021" y="309466"/>
                  </a:lnTo>
                  <a:lnTo>
                    <a:pt x="391360" y="316978"/>
                  </a:lnTo>
                  <a:lnTo>
                    <a:pt x="393266" y="318237"/>
                  </a:lnTo>
                  <a:lnTo>
                    <a:pt x="395158" y="318623"/>
                  </a:lnTo>
                  <a:lnTo>
                    <a:pt x="396569" y="319823"/>
                  </a:lnTo>
                  <a:lnTo>
                    <a:pt x="397592" y="328511"/>
                  </a:lnTo>
                  <a:lnTo>
                    <a:pt x="399084" y="330381"/>
                  </a:lnTo>
                  <a:lnTo>
                    <a:pt x="401039" y="331173"/>
                  </a:lnTo>
                  <a:lnTo>
                    <a:pt x="402832" y="332895"/>
                  </a:lnTo>
                  <a:lnTo>
                    <a:pt x="405331" y="338055"/>
                  </a:lnTo>
                  <a:lnTo>
                    <a:pt x="407180" y="343121"/>
                  </a:lnTo>
                  <a:lnTo>
                    <a:pt x="408579" y="348378"/>
                  </a:lnTo>
                  <a:lnTo>
                    <a:pt x="410535" y="360321"/>
                  </a:lnTo>
                  <a:lnTo>
                    <a:pt x="410202" y="362646"/>
                  </a:lnTo>
                  <a:lnTo>
                    <a:pt x="408775" y="364605"/>
                  </a:lnTo>
                  <a:lnTo>
                    <a:pt x="406380" y="369776"/>
                  </a:lnTo>
                  <a:lnTo>
                    <a:pt x="408653" y="371429"/>
                  </a:lnTo>
                  <a:lnTo>
                    <a:pt x="410240" y="374374"/>
                  </a:lnTo>
                  <a:lnTo>
                    <a:pt x="410587" y="377585"/>
                  </a:lnTo>
                  <a:lnTo>
                    <a:pt x="409069" y="380023"/>
                  </a:lnTo>
                  <a:lnTo>
                    <a:pt x="406359" y="379775"/>
                  </a:lnTo>
                  <a:lnTo>
                    <a:pt x="404352" y="376462"/>
                  </a:lnTo>
                  <a:lnTo>
                    <a:pt x="401971" y="369674"/>
                  </a:lnTo>
                  <a:lnTo>
                    <a:pt x="388254" y="356018"/>
                  </a:lnTo>
                  <a:lnTo>
                    <a:pt x="386181" y="349607"/>
                  </a:lnTo>
                  <a:lnTo>
                    <a:pt x="383956" y="338836"/>
                  </a:lnTo>
                  <a:lnTo>
                    <a:pt x="383632" y="333882"/>
                  </a:lnTo>
                  <a:lnTo>
                    <a:pt x="376343" y="328584"/>
                  </a:lnTo>
                  <a:lnTo>
                    <a:pt x="375036" y="325721"/>
                  </a:lnTo>
                  <a:lnTo>
                    <a:pt x="373484" y="319817"/>
                  </a:lnTo>
                  <a:lnTo>
                    <a:pt x="371039" y="313115"/>
                  </a:lnTo>
                  <a:lnTo>
                    <a:pt x="371461" y="307167"/>
                  </a:lnTo>
                  <a:close/>
                  <a:moveTo>
                    <a:pt x="170581" y="289124"/>
                  </a:moveTo>
                  <a:lnTo>
                    <a:pt x="172692" y="289953"/>
                  </a:lnTo>
                  <a:lnTo>
                    <a:pt x="174009" y="291498"/>
                  </a:lnTo>
                  <a:lnTo>
                    <a:pt x="174658" y="293843"/>
                  </a:lnTo>
                  <a:lnTo>
                    <a:pt x="174940" y="310161"/>
                  </a:lnTo>
                  <a:lnTo>
                    <a:pt x="177032" y="331482"/>
                  </a:lnTo>
                  <a:lnTo>
                    <a:pt x="177258" y="343053"/>
                  </a:lnTo>
                  <a:lnTo>
                    <a:pt x="178441" y="346661"/>
                  </a:lnTo>
                  <a:lnTo>
                    <a:pt x="181296" y="350677"/>
                  </a:lnTo>
                  <a:lnTo>
                    <a:pt x="184429" y="353891"/>
                  </a:lnTo>
                  <a:lnTo>
                    <a:pt x="186398" y="355258"/>
                  </a:lnTo>
                  <a:lnTo>
                    <a:pt x="187368" y="356695"/>
                  </a:lnTo>
                  <a:lnTo>
                    <a:pt x="186706" y="359845"/>
                  </a:lnTo>
                  <a:lnTo>
                    <a:pt x="185594" y="363318"/>
                  </a:lnTo>
                  <a:lnTo>
                    <a:pt x="185208" y="365638"/>
                  </a:lnTo>
                  <a:lnTo>
                    <a:pt x="186214" y="367762"/>
                  </a:lnTo>
                  <a:lnTo>
                    <a:pt x="187577" y="369244"/>
                  </a:lnTo>
                  <a:lnTo>
                    <a:pt x="191003" y="371084"/>
                  </a:lnTo>
                  <a:lnTo>
                    <a:pt x="190324" y="375416"/>
                  </a:lnTo>
                  <a:lnTo>
                    <a:pt x="190257" y="379739"/>
                  </a:lnTo>
                  <a:lnTo>
                    <a:pt x="190769" y="383632"/>
                  </a:lnTo>
                  <a:lnTo>
                    <a:pt x="191897" y="386771"/>
                  </a:lnTo>
                  <a:lnTo>
                    <a:pt x="191807" y="389165"/>
                  </a:lnTo>
                  <a:lnTo>
                    <a:pt x="189200" y="390375"/>
                  </a:lnTo>
                  <a:lnTo>
                    <a:pt x="186915" y="391890"/>
                  </a:lnTo>
                  <a:lnTo>
                    <a:pt x="185130" y="394080"/>
                  </a:lnTo>
                  <a:lnTo>
                    <a:pt x="184012" y="397182"/>
                  </a:lnTo>
                  <a:lnTo>
                    <a:pt x="182789" y="394272"/>
                  </a:lnTo>
                  <a:lnTo>
                    <a:pt x="178689" y="400061"/>
                  </a:lnTo>
                  <a:lnTo>
                    <a:pt x="173553" y="404407"/>
                  </a:lnTo>
                  <a:lnTo>
                    <a:pt x="167728" y="407389"/>
                  </a:lnTo>
                  <a:lnTo>
                    <a:pt x="161591" y="409125"/>
                  </a:lnTo>
                  <a:lnTo>
                    <a:pt x="152485" y="407271"/>
                  </a:lnTo>
                  <a:lnTo>
                    <a:pt x="149671" y="408653"/>
                  </a:lnTo>
                  <a:lnTo>
                    <a:pt x="147742" y="416652"/>
                  </a:lnTo>
                  <a:lnTo>
                    <a:pt x="146780" y="418061"/>
                  </a:lnTo>
                  <a:lnTo>
                    <a:pt x="144614" y="420324"/>
                  </a:lnTo>
                  <a:lnTo>
                    <a:pt x="138971" y="424608"/>
                  </a:lnTo>
                  <a:lnTo>
                    <a:pt x="133390" y="426435"/>
                  </a:lnTo>
                  <a:lnTo>
                    <a:pt x="128320" y="424390"/>
                  </a:lnTo>
                  <a:lnTo>
                    <a:pt x="125655" y="415750"/>
                  </a:lnTo>
                  <a:lnTo>
                    <a:pt x="127297" y="407134"/>
                  </a:lnTo>
                  <a:lnTo>
                    <a:pt x="132214" y="401891"/>
                  </a:lnTo>
                  <a:lnTo>
                    <a:pt x="144173" y="395625"/>
                  </a:lnTo>
                  <a:lnTo>
                    <a:pt x="140081" y="381934"/>
                  </a:lnTo>
                  <a:lnTo>
                    <a:pt x="137570" y="378579"/>
                  </a:lnTo>
                  <a:lnTo>
                    <a:pt x="129212" y="374002"/>
                  </a:lnTo>
                  <a:lnTo>
                    <a:pt x="127406" y="373802"/>
                  </a:lnTo>
                  <a:lnTo>
                    <a:pt x="128604" y="366942"/>
                  </a:lnTo>
                  <a:lnTo>
                    <a:pt x="134361" y="360130"/>
                  </a:lnTo>
                  <a:lnTo>
                    <a:pt x="144531" y="351006"/>
                  </a:lnTo>
                  <a:lnTo>
                    <a:pt x="139945" y="348453"/>
                  </a:lnTo>
                  <a:lnTo>
                    <a:pt x="133839" y="347145"/>
                  </a:lnTo>
                  <a:lnTo>
                    <a:pt x="127727" y="347903"/>
                  </a:lnTo>
                  <a:lnTo>
                    <a:pt x="123212" y="351434"/>
                  </a:lnTo>
                  <a:lnTo>
                    <a:pt x="117599" y="364473"/>
                  </a:lnTo>
                  <a:lnTo>
                    <a:pt x="114315" y="370607"/>
                  </a:lnTo>
                  <a:lnTo>
                    <a:pt x="107230" y="375160"/>
                  </a:lnTo>
                  <a:lnTo>
                    <a:pt x="99954" y="385196"/>
                  </a:lnTo>
                  <a:lnTo>
                    <a:pt x="97096" y="388169"/>
                  </a:lnTo>
                  <a:lnTo>
                    <a:pt x="91026" y="388915"/>
                  </a:lnTo>
                  <a:lnTo>
                    <a:pt x="88480" y="385161"/>
                  </a:lnTo>
                  <a:lnTo>
                    <a:pt x="88993" y="378942"/>
                  </a:lnTo>
                  <a:lnTo>
                    <a:pt x="92040" y="372289"/>
                  </a:lnTo>
                  <a:lnTo>
                    <a:pt x="90986" y="371543"/>
                  </a:lnTo>
                  <a:lnTo>
                    <a:pt x="90212" y="370014"/>
                  </a:lnTo>
                  <a:lnTo>
                    <a:pt x="89104" y="369312"/>
                  </a:lnTo>
                  <a:lnTo>
                    <a:pt x="91672" y="363153"/>
                  </a:lnTo>
                  <a:lnTo>
                    <a:pt x="101881" y="349218"/>
                  </a:lnTo>
                  <a:lnTo>
                    <a:pt x="94912" y="343698"/>
                  </a:lnTo>
                  <a:lnTo>
                    <a:pt x="97832" y="341351"/>
                  </a:lnTo>
                  <a:lnTo>
                    <a:pt x="99709" y="339037"/>
                  </a:lnTo>
                  <a:lnTo>
                    <a:pt x="100757" y="335471"/>
                  </a:lnTo>
                  <a:lnTo>
                    <a:pt x="101272" y="329486"/>
                  </a:lnTo>
                  <a:lnTo>
                    <a:pt x="102057" y="324726"/>
                  </a:lnTo>
                  <a:lnTo>
                    <a:pt x="103811" y="321766"/>
                  </a:lnTo>
                  <a:lnTo>
                    <a:pt x="111797" y="316461"/>
                  </a:lnTo>
                  <a:lnTo>
                    <a:pt x="123718" y="311676"/>
                  </a:lnTo>
                  <a:lnTo>
                    <a:pt x="126374" y="308923"/>
                  </a:lnTo>
                  <a:lnTo>
                    <a:pt x="128868" y="307097"/>
                  </a:lnTo>
                  <a:lnTo>
                    <a:pt x="131603" y="308457"/>
                  </a:lnTo>
                  <a:lnTo>
                    <a:pt x="129882" y="310813"/>
                  </a:lnTo>
                  <a:lnTo>
                    <a:pt x="126795" y="321531"/>
                  </a:lnTo>
                  <a:lnTo>
                    <a:pt x="126695" y="323908"/>
                  </a:lnTo>
                  <a:lnTo>
                    <a:pt x="128013" y="330826"/>
                  </a:lnTo>
                  <a:lnTo>
                    <a:pt x="129502" y="333689"/>
                  </a:lnTo>
                  <a:lnTo>
                    <a:pt x="132113" y="334592"/>
                  </a:lnTo>
                  <a:lnTo>
                    <a:pt x="132221" y="331981"/>
                  </a:lnTo>
                  <a:lnTo>
                    <a:pt x="130920" y="324411"/>
                  </a:lnTo>
                  <a:lnTo>
                    <a:pt x="135868" y="316103"/>
                  </a:lnTo>
                  <a:lnTo>
                    <a:pt x="143048" y="309425"/>
                  </a:lnTo>
                  <a:lnTo>
                    <a:pt x="150881" y="305197"/>
                  </a:lnTo>
                  <a:lnTo>
                    <a:pt x="156490" y="298046"/>
                  </a:lnTo>
                  <a:lnTo>
                    <a:pt x="159306" y="296524"/>
                  </a:lnTo>
                  <a:lnTo>
                    <a:pt x="162386" y="295791"/>
                  </a:lnTo>
                  <a:lnTo>
                    <a:pt x="165662" y="293865"/>
                  </a:lnTo>
                  <a:lnTo>
                    <a:pt x="168575" y="291396"/>
                  </a:lnTo>
                  <a:close/>
                  <a:moveTo>
                    <a:pt x="171355" y="218943"/>
                  </a:moveTo>
                  <a:lnTo>
                    <a:pt x="173776" y="219130"/>
                  </a:lnTo>
                  <a:lnTo>
                    <a:pt x="174583" y="223783"/>
                  </a:lnTo>
                  <a:lnTo>
                    <a:pt x="167243" y="235400"/>
                  </a:lnTo>
                  <a:lnTo>
                    <a:pt x="164486" y="242948"/>
                  </a:lnTo>
                  <a:lnTo>
                    <a:pt x="164824" y="249731"/>
                  </a:lnTo>
                  <a:lnTo>
                    <a:pt x="160426" y="252794"/>
                  </a:lnTo>
                  <a:lnTo>
                    <a:pt x="154524" y="254269"/>
                  </a:lnTo>
                  <a:lnTo>
                    <a:pt x="148664" y="253846"/>
                  </a:lnTo>
                  <a:lnTo>
                    <a:pt x="144344" y="251289"/>
                  </a:lnTo>
                  <a:lnTo>
                    <a:pt x="147778" y="248721"/>
                  </a:lnTo>
                  <a:lnTo>
                    <a:pt x="149554" y="244390"/>
                  </a:lnTo>
                  <a:lnTo>
                    <a:pt x="150854" y="239338"/>
                  </a:lnTo>
                  <a:lnTo>
                    <a:pt x="152967" y="234785"/>
                  </a:lnTo>
                  <a:lnTo>
                    <a:pt x="157659" y="229092"/>
                  </a:lnTo>
                  <a:lnTo>
                    <a:pt x="159030" y="226952"/>
                  </a:lnTo>
                  <a:lnTo>
                    <a:pt x="160678" y="225664"/>
                  </a:lnTo>
                  <a:lnTo>
                    <a:pt x="163949" y="227194"/>
                  </a:lnTo>
                  <a:lnTo>
                    <a:pt x="165774" y="225805"/>
                  </a:lnTo>
                  <a:lnTo>
                    <a:pt x="165174" y="224318"/>
                  </a:lnTo>
                  <a:lnTo>
                    <a:pt x="164869" y="223279"/>
                  </a:lnTo>
                  <a:lnTo>
                    <a:pt x="164379" y="220769"/>
                  </a:lnTo>
                  <a:lnTo>
                    <a:pt x="167984" y="220397"/>
                  </a:lnTo>
                  <a:close/>
                  <a:moveTo>
                    <a:pt x="263972" y="211495"/>
                  </a:moveTo>
                  <a:lnTo>
                    <a:pt x="268461" y="213835"/>
                  </a:lnTo>
                  <a:lnTo>
                    <a:pt x="269121" y="217513"/>
                  </a:lnTo>
                  <a:lnTo>
                    <a:pt x="269556" y="222785"/>
                  </a:lnTo>
                  <a:lnTo>
                    <a:pt x="269115" y="227484"/>
                  </a:lnTo>
                  <a:lnTo>
                    <a:pt x="265652" y="230717"/>
                  </a:lnTo>
                  <a:lnTo>
                    <a:pt x="262257" y="236300"/>
                  </a:lnTo>
                  <a:lnTo>
                    <a:pt x="257826" y="240601"/>
                  </a:lnTo>
                  <a:lnTo>
                    <a:pt x="248585" y="261607"/>
                  </a:lnTo>
                  <a:lnTo>
                    <a:pt x="229327" y="296884"/>
                  </a:lnTo>
                  <a:lnTo>
                    <a:pt x="224110" y="312010"/>
                  </a:lnTo>
                  <a:lnTo>
                    <a:pt x="221891" y="311091"/>
                  </a:lnTo>
                  <a:lnTo>
                    <a:pt x="216360" y="317630"/>
                  </a:lnTo>
                  <a:lnTo>
                    <a:pt x="212734" y="319414"/>
                  </a:lnTo>
                  <a:lnTo>
                    <a:pt x="211067" y="322294"/>
                  </a:lnTo>
                  <a:lnTo>
                    <a:pt x="208394" y="336933"/>
                  </a:lnTo>
                  <a:lnTo>
                    <a:pt x="206749" y="342723"/>
                  </a:lnTo>
                  <a:lnTo>
                    <a:pt x="201140" y="346392"/>
                  </a:lnTo>
                  <a:lnTo>
                    <a:pt x="192776" y="345522"/>
                  </a:lnTo>
                  <a:lnTo>
                    <a:pt x="185284" y="340122"/>
                  </a:lnTo>
                  <a:lnTo>
                    <a:pt x="182286" y="330282"/>
                  </a:lnTo>
                  <a:lnTo>
                    <a:pt x="181105" y="311860"/>
                  </a:lnTo>
                  <a:lnTo>
                    <a:pt x="181778" y="305242"/>
                  </a:lnTo>
                  <a:lnTo>
                    <a:pt x="184096" y="299354"/>
                  </a:lnTo>
                  <a:lnTo>
                    <a:pt x="187410" y="296819"/>
                  </a:lnTo>
                  <a:lnTo>
                    <a:pt x="191131" y="295031"/>
                  </a:lnTo>
                  <a:lnTo>
                    <a:pt x="194729" y="291352"/>
                  </a:lnTo>
                  <a:lnTo>
                    <a:pt x="201242" y="286319"/>
                  </a:lnTo>
                  <a:lnTo>
                    <a:pt x="218116" y="283618"/>
                  </a:lnTo>
                  <a:lnTo>
                    <a:pt x="225323" y="277853"/>
                  </a:lnTo>
                  <a:lnTo>
                    <a:pt x="220267" y="277534"/>
                  </a:lnTo>
                  <a:lnTo>
                    <a:pt x="212318" y="279489"/>
                  </a:lnTo>
                  <a:lnTo>
                    <a:pt x="205074" y="279505"/>
                  </a:lnTo>
                  <a:lnTo>
                    <a:pt x="202120" y="273235"/>
                  </a:lnTo>
                  <a:lnTo>
                    <a:pt x="205075" y="264615"/>
                  </a:lnTo>
                  <a:lnTo>
                    <a:pt x="211430" y="254951"/>
                  </a:lnTo>
                  <a:lnTo>
                    <a:pt x="218285" y="247076"/>
                  </a:lnTo>
                  <a:lnTo>
                    <a:pt x="222770" y="243845"/>
                  </a:lnTo>
                  <a:lnTo>
                    <a:pt x="229296" y="242053"/>
                  </a:lnTo>
                  <a:lnTo>
                    <a:pt x="246071" y="226391"/>
                  </a:lnTo>
                  <a:lnTo>
                    <a:pt x="257326" y="215631"/>
                  </a:lnTo>
                  <a:close/>
                  <a:moveTo>
                    <a:pt x="270460" y="193008"/>
                  </a:moveTo>
                  <a:lnTo>
                    <a:pt x="271940" y="195919"/>
                  </a:lnTo>
                  <a:lnTo>
                    <a:pt x="273285" y="201936"/>
                  </a:lnTo>
                  <a:lnTo>
                    <a:pt x="268788" y="205741"/>
                  </a:lnTo>
                  <a:lnTo>
                    <a:pt x="262122" y="207732"/>
                  </a:lnTo>
                  <a:lnTo>
                    <a:pt x="257011" y="208230"/>
                  </a:lnTo>
                  <a:lnTo>
                    <a:pt x="259514" y="202045"/>
                  </a:lnTo>
                  <a:lnTo>
                    <a:pt x="263061" y="198490"/>
                  </a:lnTo>
                  <a:close/>
                  <a:moveTo>
                    <a:pt x="282932" y="169917"/>
                  </a:moveTo>
                  <a:lnTo>
                    <a:pt x="284011" y="171290"/>
                  </a:lnTo>
                  <a:lnTo>
                    <a:pt x="285018" y="172223"/>
                  </a:lnTo>
                  <a:lnTo>
                    <a:pt x="286069" y="172070"/>
                  </a:lnTo>
                  <a:lnTo>
                    <a:pt x="287282" y="170054"/>
                  </a:lnTo>
                  <a:lnTo>
                    <a:pt x="287543" y="175446"/>
                  </a:lnTo>
                  <a:lnTo>
                    <a:pt x="285763" y="180881"/>
                  </a:lnTo>
                  <a:lnTo>
                    <a:pt x="283462" y="186362"/>
                  </a:lnTo>
                  <a:lnTo>
                    <a:pt x="281110" y="198234"/>
                  </a:lnTo>
                  <a:lnTo>
                    <a:pt x="279031" y="195835"/>
                  </a:lnTo>
                  <a:lnTo>
                    <a:pt x="275312" y="185355"/>
                  </a:lnTo>
                  <a:lnTo>
                    <a:pt x="277607" y="181788"/>
                  </a:lnTo>
                  <a:lnTo>
                    <a:pt x="280249" y="172725"/>
                  </a:lnTo>
                  <a:close/>
                  <a:moveTo>
                    <a:pt x="293961" y="146525"/>
                  </a:moveTo>
                  <a:lnTo>
                    <a:pt x="292586" y="151056"/>
                  </a:lnTo>
                  <a:lnTo>
                    <a:pt x="290471" y="154100"/>
                  </a:lnTo>
                  <a:lnTo>
                    <a:pt x="289230" y="157328"/>
                  </a:lnTo>
                  <a:lnTo>
                    <a:pt x="290418" y="162344"/>
                  </a:lnTo>
                  <a:lnTo>
                    <a:pt x="285510" y="165192"/>
                  </a:lnTo>
                  <a:lnTo>
                    <a:pt x="281649" y="162503"/>
                  </a:lnTo>
                  <a:lnTo>
                    <a:pt x="280482" y="156352"/>
                  </a:lnTo>
                  <a:lnTo>
                    <a:pt x="283606" y="148813"/>
                  </a:lnTo>
                  <a:lnTo>
                    <a:pt x="286292" y="146814"/>
                  </a:lnTo>
                  <a:lnTo>
                    <a:pt x="291107" y="147867"/>
                  </a:lnTo>
                  <a:close/>
                  <a:moveTo>
                    <a:pt x="312397" y="110562"/>
                  </a:moveTo>
                  <a:lnTo>
                    <a:pt x="308965" y="117054"/>
                  </a:lnTo>
                  <a:lnTo>
                    <a:pt x="304994" y="121383"/>
                  </a:lnTo>
                  <a:lnTo>
                    <a:pt x="300323" y="123450"/>
                  </a:lnTo>
                  <a:lnTo>
                    <a:pt x="294695" y="123058"/>
                  </a:lnTo>
                  <a:lnTo>
                    <a:pt x="295822" y="119500"/>
                  </a:lnTo>
                  <a:lnTo>
                    <a:pt x="297138" y="117067"/>
                  </a:lnTo>
                  <a:lnTo>
                    <a:pt x="300652" y="112820"/>
                  </a:lnTo>
                  <a:lnTo>
                    <a:pt x="307289" y="113302"/>
                  </a:lnTo>
                  <a:lnTo>
                    <a:pt x="310302" y="112677"/>
                  </a:lnTo>
                  <a:close/>
                  <a:moveTo>
                    <a:pt x="163168" y="73792"/>
                  </a:moveTo>
                  <a:lnTo>
                    <a:pt x="166104" y="77238"/>
                  </a:lnTo>
                  <a:lnTo>
                    <a:pt x="172258" y="82757"/>
                  </a:lnTo>
                  <a:lnTo>
                    <a:pt x="174304" y="87273"/>
                  </a:lnTo>
                  <a:lnTo>
                    <a:pt x="163216" y="87487"/>
                  </a:lnTo>
                  <a:lnTo>
                    <a:pt x="157981" y="86435"/>
                  </a:lnTo>
                  <a:lnTo>
                    <a:pt x="152662" y="81178"/>
                  </a:lnTo>
                  <a:lnTo>
                    <a:pt x="155009" y="77585"/>
                  </a:lnTo>
                  <a:lnTo>
                    <a:pt x="157472" y="75117"/>
                  </a:lnTo>
                  <a:lnTo>
                    <a:pt x="160154" y="73794"/>
                  </a:lnTo>
                  <a:close/>
                  <a:moveTo>
                    <a:pt x="47734" y="51520"/>
                  </a:moveTo>
                  <a:lnTo>
                    <a:pt x="53054" y="52055"/>
                  </a:lnTo>
                  <a:lnTo>
                    <a:pt x="55387" y="58859"/>
                  </a:lnTo>
                  <a:lnTo>
                    <a:pt x="52194" y="63502"/>
                  </a:lnTo>
                  <a:lnTo>
                    <a:pt x="39376" y="64488"/>
                  </a:lnTo>
                  <a:lnTo>
                    <a:pt x="38694" y="70853"/>
                  </a:lnTo>
                  <a:lnTo>
                    <a:pt x="34313" y="74315"/>
                  </a:lnTo>
                  <a:lnTo>
                    <a:pt x="29585" y="75031"/>
                  </a:lnTo>
                  <a:lnTo>
                    <a:pt x="24942" y="76779"/>
                  </a:lnTo>
                  <a:lnTo>
                    <a:pt x="20765" y="83282"/>
                  </a:lnTo>
                  <a:lnTo>
                    <a:pt x="21676" y="90147"/>
                  </a:lnTo>
                  <a:lnTo>
                    <a:pt x="17263" y="90129"/>
                  </a:lnTo>
                  <a:lnTo>
                    <a:pt x="4343" y="83312"/>
                  </a:lnTo>
                  <a:lnTo>
                    <a:pt x="2719" y="78776"/>
                  </a:lnTo>
                  <a:lnTo>
                    <a:pt x="1817" y="72751"/>
                  </a:lnTo>
                  <a:lnTo>
                    <a:pt x="0" y="66337"/>
                  </a:lnTo>
                  <a:lnTo>
                    <a:pt x="4719" y="63963"/>
                  </a:lnTo>
                  <a:lnTo>
                    <a:pt x="19077" y="62320"/>
                  </a:lnTo>
                  <a:lnTo>
                    <a:pt x="23886" y="60785"/>
                  </a:lnTo>
                  <a:lnTo>
                    <a:pt x="31919" y="56044"/>
                  </a:lnTo>
                  <a:lnTo>
                    <a:pt x="36721" y="55097"/>
                  </a:lnTo>
                  <a:close/>
                  <a:moveTo>
                    <a:pt x="436573" y="22667"/>
                  </a:moveTo>
                  <a:lnTo>
                    <a:pt x="441255" y="23537"/>
                  </a:lnTo>
                  <a:lnTo>
                    <a:pt x="442612" y="23783"/>
                  </a:lnTo>
                  <a:lnTo>
                    <a:pt x="442939" y="23978"/>
                  </a:lnTo>
                  <a:lnTo>
                    <a:pt x="449161" y="27811"/>
                  </a:lnTo>
                  <a:lnTo>
                    <a:pt x="464581" y="25377"/>
                  </a:lnTo>
                  <a:lnTo>
                    <a:pt x="470495" y="28928"/>
                  </a:lnTo>
                  <a:lnTo>
                    <a:pt x="471553" y="29560"/>
                  </a:lnTo>
                  <a:lnTo>
                    <a:pt x="481192" y="30393"/>
                  </a:lnTo>
                  <a:lnTo>
                    <a:pt x="481750" y="30443"/>
                  </a:lnTo>
                  <a:lnTo>
                    <a:pt x="489446" y="31255"/>
                  </a:lnTo>
                  <a:lnTo>
                    <a:pt x="497565" y="27586"/>
                  </a:lnTo>
                  <a:lnTo>
                    <a:pt x="500285" y="28798"/>
                  </a:lnTo>
                  <a:lnTo>
                    <a:pt x="500825" y="34613"/>
                  </a:lnTo>
                  <a:lnTo>
                    <a:pt x="498445" y="37475"/>
                  </a:lnTo>
                  <a:lnTo>
                    <a:pt x="498481" y="41939"/>
                  </a:lnTo>
                  <a:lnTo>
                    <a:pt x="504133" y="43527"/>
                  </a:lnTo>
                  <a:lnTo>
                    <a:pt x="505280" y="43852"/>
                  </a:lnTo>
                  <a:lnTo>
                    <a:pt x="507734" y="48494"/>
                  </a:lnTo>
                  <a:lnTo>
                    <a:pt x="512870" y="58216"/>
                  </a:lnTo>
                  <a:lnTo>
                    <a:pt x="511608" y="60525"/>
                  </a:lnTo>
                  <a:lnTo>
                    <a:pt x="509341" y="59106"/>
                  </a:lnTo>
                  <a:lnTo>
                    <a:pt x="505125" y="56489"/>
                  </a:lnTo>
                  <a:lnTo>
                    <a:pt x="484416" y="66206"/>
                  </a:lnTo>
                  <a:lnTo>
                    <a:pt x="484227" y="67003"/>
                  </a:lnTo>
                  <a:lnTo>
                    <a:pt x="484038" y="67790"/>
                  </a:lnTo>
                  <a:lnTo>
                    <a:pt x="485401" y="70045"/>
                  </a:lnTo>
                  <a:lnTo>
                    <a:pt x="491059" y="71531"/>
                  </a:lnTo>
                  <a:lnTo>
                    <a:pt x="492684" y="73593"/>
                  </a:lnTo>
                  <a:lnTo>
                    <a:pt x="493349" y="74454"/>
                  </a:lnTo>
                  <a:lnTo>
                    <a:pt x="493412" y="77377"/>
                  </a:lnTo>
                  <a:lnTo>
                    <a:pt x="487486" y="87798"/>
                  </a:lnTo>
                  <a:lnTo>
                    <a:pt x="487545" y="90890"/>
                  </a:lnTo>
                  <a:lnTo>
                    <a:pt x="490019" y="93689"/>
                  </a:lnTo>
                  <a:lnTo>
                    <a:pt x="495157" y="95517"/>
                  </a:lnTo>
                  <a:lnTo>
                    <a:pt x="489560" y="99823"/>
                  </a:lnTo>
                  <a:lnTo>
                    <a:pt x="482046" y="99549"/>
                  </a:lnTo>
                  <a:lnTo>
                    <a:pt x="477546" y="102052"/>
                  </a:lnTo>
                  <a:lnTo>
                    <a:pt x="477384" y="103176"/>
                  </a:lnTo>
                  <a:lnTo>
                    <a:pt x="476664" y="108316"/>
                  </a:lnTo>
                  <a:lnTo>
                    <a:pt x="467138" y="112164"/>
                  </a:lnTo>
                  <a:lnTo>
                    <a:pt x="460080" y="119136"/>
                  </a:lnTo>
                  <a:lnTo>
                    <a:pt x="459241" y="122318"/>
                  </a:lnTo>
                  <a:lnTo>
                    <a:pt x="458482" y="125265"/>
                  </a:lnTo>
                  <a:lnTo>
                    <a:pt x="452669" y="133641"/>
                  </a:lnTo>
                  <a:lnTo>
                    <a:pt x="453440" y="136362"/>
                  </a:lnTo>
                  <a:lnTo>
                    <a:pt x="465404" y="144183"/>
                  </a:lnTo>
                  <a:lnTo>
                    <a:pt x="465506" y="145389"/>
                  </a:lnTo>
                  <a:lnTo>
                    <a:pt x="465630" y="146854"/>
                  </a:lnTo>
                  <a:lnTo>
                    <a:pt x="463962" y="150415"/>
                  </a:lnTo>
                  <a:lnTo>
                    <a:pt x="463367" y="151688"/>
                  </a:lnTo>
                  <a:lnTo>
                    <a:pt x="463521" y="151948"/>
                  </a:lnTo>
                  <a:lnTo>
                    <a:pt x="464556" y="153627"/>
                  </a:lnTo>
                  <a:lnTo>
                    <a:pt x="475596" y="150519"/>
                  </a:lnTo>
                  <a:lnTo>
                    <a:pt x="477291" y="150057"/>
                  </a:lnTo>
                  <a:lnTo>
                    <a:pt x="480192" y="150664"/>
                  </a:lnTo>
                  <a:lnTo>
                    <a:pt x="492057" y="153168"/>
                  </a:lnTo>
                  <a:lnTo>
                    <a:pt x="487152" y="160941"/>
                  </a:lnTo>
                  <a:lnTo>
                    <a:pt x="487397" y="162289"/>
                  </a:lnTo>
                  <a:lnTo>
                    <a:pt x="487893" y="165161"/>
                  </a:lnTo>
                  <a:lnTo>
                    <a:pt x="490051" y="168320"/>
                  </a:lnTo>
                  <a:lnTo>
                    <a:pt x="490034" y="168329"/>
                  </a:lnTo>
                  <a:lnTo>
                    <a:pt x="488918" y="169425"/>
                  </a:lnTo>
                  <a:lnTo>
                    <a:pt x="486306" y="171965"/>
                  </a:lnTo>
                  <a:lnTo>
                    <a:pt x="485133" y="177415"/>
                  </a:lnTo>
                  <a:lnTo>
                    <a:pt x="485025" y="176979"/>
                  </a:lnTo>
                  <a:lnTo>
                    <a:pt x="483932" y="180681"/>
                  </a:lnTo>
                  <a:lnTo>
                    <a:pt x="484235" y="188477"/>
                  </a:lnTo>
                  <a:lnTo>
                    <a:pt x="484257" y="189090"/>
                  </a:lnTo>
                  <a:lnTo>
                    <a:pt x="484282" y="189822"/>
                  </a:lnTo>
                  <a:lnTo>
                    <a:pt x="484578" y="199801"/>
                  </a:lnTo>
                  <a:lnTo>
                    <a:pt x="487484" y="209628"/>
                  </a:lnTo>
                  <a:lnTo>
                    <a:pt x="494222" y="228014"/>
                  </a:lnTo>
                  <a:lnTo>
                    <a:pt x="498570" y="242131"/>
                  </a:lnTo>
                  <a:lnTo>
                    <a:pt x="501322" y="246187"/>
                  </a:lnTo>
                  <a:lnTo>
                    <a:pt x="501118" y="246183"/>
                  </a:lnTo>
                  <a:lnTo>
                    <a:pt x="501388" y="251757"/>
                  </a:lnTo>
                  <a:lnTo>
                    <a:pt x="500910" y="265948"/>
                  </a:lnTo>
                  <a:lnTo>
                    <a:pt x="500805" y="268572"/>
                  </a:lnTo>
                  <a:lnTo>
                    <a:pt x="500692" y="271315"/>
                  </a:lnTo>
                  <a:lnTo>
                    <a:pt x="500691" y="271375"/>
                  </a:lnTo>
                  <a:lnTo>
                    <a:pt x="500259" y="275081"/>
                  </a:lnTo>
                  <a:lnTo>
                    <a:pt x="500191" y="275791"/>
                  </a:lnTo>
                  <a:lnTo>
                    <a:pt x="500236" y="279346"/>
                  </a:lnTo>
                  <a:lnTo>
                    <a:pt x="500295" y="283040"/>
                  </a:lnTo>
                  <a:lnTo>
                    <a:pt x="500306" y="283375"/>
                  </a:lnTo>
                  <a:lnTo>
                    <a:pt x="500622" y="291103"/>
                  </a:lnTo>
                  <a:lnTo>
                    <a:pt x="501626" y="296866"/>
                  </a:lnTo>
                  <a:lnTo>
                    <a:pt x="502038" y="298287"/>
                  </a:lnTo>
                  <a:lnTo>
                    <a:pt x="493636" y="296327"/>
                  </a:lnTo>
                  <a:lnTo>
                    <a:pt x="484454" y="290208"/>
                  </a:lnTo>
                  <a:lnTo>
                    <a:pt x="473795" y="276064"/>
                  </a:lnTo>
                  <a:lnTo>
                    <a:pt x="465201" y="272575"/>
                  </a:lnTo>
                  <a:lnTo>
                    <a:pt x="461352" y="268456"/>
                  </a:lnTo>
                  <a:lnTo>
                    <a:pt x="458081" y="263306"/>
                  </a:lnTo>
                  <a:lnTo>
                    <a:pt x="455747" y="258362"/>
                  </a:lnTo>
                  <a:lnTo>
                    <a:pt x="453182" y="246880"/>
                  </a:lnTo>
                  <a:lnTo>
                    <a:pt x="453089" y="245028"/>
                  </a:lnTo>
                  <a:lnTo>
                    <a:pt x="449939" y="244156"/>
                  </a:lnTo>
                  <a:lnTo>
                    <a:pt x="448786" y="247057"/>
                  </a:lnTo>
                  <a:lnTo>
                    <a:pt x="448829" y="250883"/>
                  </a:lnTo>
                  <a:lnTo>
                    <a:pt x="450052" y="255635"/>
                  </a:lnTo>
                  <a:lnTo>
                    <a:pt x="459862" y="271273"/>
                  </a:lnTo>
                  <a:lnTo>
                    <a:pt x="462125" y="278238"/>
                  </a:lnTo>
                  <a:lnTo>
                    <a:pt x="460700" y="281289"/>
                  </a:lnTo>
                  <a:lnTo>
                    <a:pt x="456771" y="281958"/>
                  </a:lnTo>
                  <a:lnTo>
                    <a:pt x="451555" y="281761"/>
                  </a:lnTo>
                  <a:lnTo>
                    <a:pt x="446573" y="279483"/>
                  </a:lnTo>
                  <a:lnTo>
                    <a:pt x="444389" y="274041"/>
                  </a:lnTo>
                  <a:lnTo>
                    <a:pt x="443872" y="267125"/>
                  </a:lnTo>
                  <a:lnTo>
                    <a:pt x="443863" y="252554"/>
                  </a:lnTo>
                  <a:lnTo>
                    <a:pt x="444242" y="249357"/>
                  </a:lnTo>
                  <a:lnTo>
                    <a:pt x="453017" y="227562"/>
                  </a:lnTo>
                  <a:lnTo>
                    <a:pt x="468583" y="203344"/>
                  </a:lnTo>
                  <a:lnTo>
                    <a:pt x="469657" y="197890"/>
                  </a:lnTo>
                  <a:lnTo>
                    <a:pt x="468699" y="196411"/>
                  </a:lnTo>
                  <a:lnTo>
                    <a:pt x="466383" y="198061"/>
                  </a:lnTo>
                  <a:lnTo>
                    <a:pt x="463398" y="202062"/>
                  </a:lnTo>
                  <a:lnTo>
                    <a:pt x="450688" y="227438"/>
                  </a:lnTo>
                  <a:lnTo>
                    <a:pt x="447527" y="231883"/>
                  </a:lnTo>
                  <a:lnTo>
                    <a:pt x="442955" y="232022"/>
                  </a:lnTo>
                  <a:lnTo>
                    <a:pt x="441423" y="228990"/>
                  </a:lnTo>
                  <a:lnTo>
                    <a:pt x="442016" y="217276"/>
                  </a:lnTo>
                  <a:lnTo>
                    <a:pt x="441232" y="212111"/>
                  </a:lnTo>
                  <a:lnTo>
                    <a:pt x="439108" y="208148"/>
                  </a:lnTo>
                  <a:lnTo>
                    <a:pt x="436250" y="207014"/>
                  </a:lnTo>
                  <a:lnTo>
                    <a:pt x="433318" y="210450"/>
                  </a:lnTo>
                  <a:lnTo>
                    <a:pt x="435604" y="217358"/>
                  </a:lnTo>
                  <a:lnTo>
                    <a:pt x="438262" y="230883"/>
                  </a:lnTo>
                  <a:lnTo>
                    <a:pt x="439909" y="244042"/>
                  </a:lnTo>
                  <a:lnTo>
                    <a:pt x="439159" y="249967"/>
                  </a:lnTo>
                  <a:lnTo>
                    <a:pt x="436410" y="251029"/>
                  </a:lnTo>
                  <a:lnTo>
                    <a:pt x="435828" y="253909"/>
                  </a:lnTo>
                  <a:lnTo>
                    <a:pt x="436583" y="261654"/>
                  </a:lnTo>
                  <a:lnTo>
                    <a:pt x="436424" y="269115"/>
                  </a:lnTo>
                  <a:lnTo>
                    <a:pt x="436750" y="274255"/>
                  </a:lnTo>
                  <a:lnTo>
                    <a:pt x="437805" y="278648"/>
                  </a:lnTo>
                  <a:lnTo>
                    <a:pt x="434833" y="280109"/>
                  </a:lnTo>
                  <a:lnTo>
                    <a:pt x="431640" y="278921"/>
                  </a:lnTo>
                  <a:lnTo>
                    <a:pt x="428257" y="276872"/>
                  </a:lnTo>
                  <a:lnTo>
                    <a:pt x="424602" y="275751"/>
                  </a:lnTo>
                  <a:lnTo>
                    <a:pt x="424545" y="278363"/>
                  </a:lnTo>
                  <a:lnTo>
                    <a:pt x="427229" y="279728"/>
                  </a:lnTo>
                  <a:lnTo>
                    <a:pt x="429995" y="281762"/>
                  </a:lnTo>
                  <a:lnTo>
                    <a:pt x="432157" y="284794"/>
                  </a:lnTo>
                  <a:lnTo>
                    <a:pt x="433080" y="289200"/>
                  </a:lnTo>
                  <a:lnTo>
                    <a:pt x="432170" y="294686"/>
                  </a:lnTo>
                  <a:lnTo>
                    <a:pt x="429983" y="298371"/>
                  </a:lnTo>
                  <a:lnTo>
                    <a:pt x="427460" y="301396"/>
                  </a:lnTo>
                  <a:lnTo>
                    <a:pt x="425558" y="304714"/>
                  </a:lnTo>
                  <a:lnTo>
                    <a:pt x="424414" y="309168"/>
                  </a:lnTo>
                  <a:lnTo>
                    <a:pt x="423722" y="312885"/>
                  </a:lnTo>
                  <a:lnTo>
                    <a:pt x="422737" y="316395"/>
                  </a:lnTo>
                  <a:lnTo>
                    <a:pt x="420558" y="320266"/>
                  </a:lnTo>
                  <a:lnTo>
                    <a:pt x="417448" y="323571"/>
                  </a:lnTo>
                  <a:lnTo>
                    <a:pt x="414952" y="323981"/>
                  </a:lnTo>
                  <a:lnTo>
                    <a:pt x="408210" y="322335"/>
                  </a:lnTo>
                  <a:lnTo>
                    <a:pt x="404855" y="318043"/>
                  </a:lnTo>
                  <a:lnTo>
                    <a:pt x="402024" y="308210"/>
                  </a:lnTo>
                  <a:lnTo>
                    <a:pt x="400130" y="297278"/>
                  </a:lnTo>
                  <a:lnTo>
                    <a:pt x="399457" y="289657"/>
                  </a:lnTo>
                  <a:lnTo>
                    <a:pt x="391176" y="277888"/>
                  </a:lnTo>
                  <a:lnTo>
                    <a:pt x="390182" y="272997"/>
                  </a:lnTo>
                  <a:lnTo>
                    <a:pt x="388642" y="269817"/>
                  </a:lnTo>
                  <a:lnTo>
                    <a:pt x="385151" y="272468"/>
                  </a:lnTo>
                  <a:lnTo>
                    <a:pt x="388387" y="278832"/>
                  </a:lnTo>
                  <a:lnTo>
                    <a:pt x="396027" y="299826"/>
                  </a:lnTo>
                  <a:lnTo>
                    <a:pt x="397430" y="307852"/>
                  </a:lnTo>
                  <a:lnTo>
                    <a:pt x="395564" y="311510"/>
                  </a:lnTo>
                  <a:lnTo>
                    <a:pt x="391511" y="309997"/>
                  </a:lnTo>
                  <a:lnTo>
                    <a:pt x="377690" y="297978"/>
                  </a:lnTo>
                  <a:lnTo>
                    <a:pt x="375865" y="293001"/>
                  </a:lnTo>
                  <a:lnTo>
                    <a:pt x="376067" y="285027"/>
                  </a:lnTo>
                  <a:lnTo>
                    <a:pt x="373818" y="287863"/>
                  </a:lnTo>
                  <a:lnTo>
                    <a:pt x="371810" y="292852"/>
                  </a:lnTo>
                  <a:lnTo>
                    <a:pt x="370367" y="298181"/>
                  </a:lnTo>
                  <a:lnTo>
                    <a:pt x="369799" y="301946"/>
                  </a:lnTo>
                  <a:lnTo>
                    <a:pt x="368716" y="304780"/>
                  </a:lnTo>
                  <a:lnTo>
                    <a:pt x="362176" y="313881"/>
                  </a:lnTo>
                  <a:lnTo>
                    <a:pt x="367022" y="324785"/>
                  </a:lnTo>
                  <a:lnTo>
                    <a:pt x="369007" y="330731"/>
                  </a:lnTo>
                  <a:lnTo>
                    <a:pt x="370352" y="337562"/>
                  </a:lnTo>
                  <a:lnTo>
                    <a:pt x="366423" y="337478"/>
                  </a:lnTo>
                  <a:lnTo>
                    <a:pt x="357175" y="331761"/>
                  </a:lnTo>
                  <a:lnTo>
                    <a:pt x="350056" y="328928"/>
                  </a:lnTo>
                  <a:lnTo>
                    <a:pt x="347903" y="325914"/>
                  </a:lnTo>
                  <a:lnTo>
                    <a:pt x="346820" y="316319"/>
                  </a:lnTo>
                  <a:lnTo>
                    <a:pt x="345585" y="314886"/>
                  </a:lnTo>
                  <a:lnTo>
                    <a:pt x="343920" y="313907"/>
                  </a:lnTo>
                  <a:lnTo>
                    <a:pt x="342344" y="311904"/>
                  </a:lnTo>
                  <a:lnTo>
                    <a:pt x="341678" y="309180"/>
                  </a:lnTo>
                  <a:lnTo>
                    <a:pt x="341602" y="305631"/>
                  </a:lnTo>
                  <a:lnTo>
                    <a:pt x="341969" y="298627"/>
                  </a:lnTo>
                  <a:lnTo>
                    <a:pt x="342522" y="295656"/>
                  </a:lnTo>
                  <a:lnTo>
                    <a:pt x="344761" y="291485"/>
                  </a:lnTo>
                  <a:lnTo>
                    <a:pt x="345320" y="288281"/>
                  </a:lnTo>
                  <a:lnTo>
                    <a:pt x="345026" y="285006"/>
                  </a:lnTo>
                  <a:lnTo>
                    <a:pt x="342657" y="273728"/>
                  </a:lnTo>
                  <a:lnTo>
                    <a:pt x="348088" y="267840"/>
                  </a:lnTo>
                  <a:lnTo>
                    <a:pt x="372443" y="227543"/>
                  </a:lnTo>
                  <a:lnTo>
                    <a:pt x="384929" y="222631"/>
                  </a:lnTo>
                  <a:lnTo>
                    <a:pt x="394013" y="215823"/>
                  </a:lnTo>
                  <a:lnTo>
                    <a:pt x="396119" y="213634"/>
                  </a:lnTo>
                  <a:lnTo>
                    <a:pt x="404089" y="196342"/>
                  </a:lnTo>
                  <a:lnTo>
                    <a:pt x="407605" y="191386"/>
                  </a:lnTo>
                  <a:lnTo>
                    <a:pt x="414109" y="187211"/>
                  </a:lnTo>
                  <a:lnTo>
                    <a:pt x="422330" y="183804"/>
                  </a:lnTo>
                  <a:lnTo>
                    <a:pt x="429854" y="178464"/>
                  </a:lnTo>
                  <a:lnTo>
                    <a:pt x="434226" y="168481"/>
                  </a:lnTo>
                  <a:lnTo>
                    <a:pt x="430441" y="170997"/>
                  </a:lnTo>
                  <a:lnTo>
                    <a:pt x="422398" y="179606"/>
                  </a:lnTo>
                  <a:lnTo>
                    <a:pt x="418779" y="181438"/>
                  </a:lnTo>
                  <a:lnTo>
                    <a:pt x="410108" y="181940"/>
                  </a:lnTo>
                  <a:lnTo>
                    <a:pt x="406495" y="183428"/>
                  </a:lnTo>
                  <a:lnTo>
                    <a:pt x="403237" y="186306"/>
                  </a:lnTo>
                  <a:lnTo>
                    <a:pt x="400817" y="190961"/>
                  </a:lnTo>
                  <a:lnTo>
                    <a:pt x="395394" y="204222"/>
                  </a:lnTo>
                  <a:lnTo>
                    <a:pt x="393319" y="206941"/>
                  </a:lnTo>
                  <a:lnTo>
                    <a:pt x="367506" y="223683"/>
                  </a:lnTo>
                  <a:lnTo>
                    <a:pt x="349137" y="250401"/>
                  </a:lnTo>
                  <a:lnTo>
                    <a:pt x="347186" y="251546"/>
                  </a:lnTo>
                  <a:lnTo>
                    <a:pt x="343315" y="251751"/>
                  </a:lnTo>
                  <a:lnTo>
                    <a:pt x="341653" y="252809"/>
                  </a:lnTo>
                  <a:lnTo>
                    <a:pt x="341686" y="254755"/>
                  </a:lnTo>
                  <a:lnTo>
                    <a:pt x="340485" y="260150"/>
                  </a:lnTo>
                  <a:lnTo>
                    <a:pt x="339044" y="264762"/>
                  </a:lnTo>
                  <a:lnTo>
                    <a:pt x="338412" y="264371"/>
                  </a:lnTo>
                  <a:lnTo>
                    <a:pt x="336310" y="268636"/>
                  </a:lnTo>
                  <a:lnTo>
                    <a:pt x="331647" y="269936"/>
                  </a:lnTo>
                  <a:lnTo>
                    <a:pt x="326377" y="269320"/>
                  </a:lnTo>
                  <a:lnTo>
                    <a:pt x="322399" y="267946"/>
                  </a:lnTo>
                  <a:lnTo>
                    <a:pt x="322295" y="266123"/>
                  </a:lnTo>
                  <a:lnTo>
                    <a:pt x="322357" y="262811"/>
                  </a:lnTo>
                  <a:lnTo>
                    <a:pt x="321915" y="260357"/>
                  </a:lnTo>
                  <a:lnTo>
                    <a:pt x="320333" y="261245"/>
                  </a:lnTo>
                  <a:lnTo>
                    <a:pt x="319528" y="263243"/>
                  </a:lnTo>
                  <a:lnTo>
                    <a:pt x="319389" y="265619"/>
                  </a:lnTo>
                  <a:lnTo>
                    <a:pt x="319445" y="268156"/>
                  </a:lnTo>
                  <a:lnTo>
                    <a:pt x="317270" y="288656"/>
                  </a:lnTo>
                  <a:lnTo>
                    <a:pt x="318012" y="289518"/>
                  </a:lnTo>
                  <a:lnTo>
                    <a:pt x="321164" y="291321"/>
                  </a:lnTo>
                  <a:lnTo>
                    <a:pt x="322365" y="291651"/>
                  </a:lnTo>
                  <a:lnTo>
                    <a:pt x="324279" y="299312"/>
                  </a:lnTo>
                  <a:lnTo>
                    <a:pt x="325023" y="303720"/>
                  </a:lnTo>
                  <a:lnTo>
                    <a:pt x="325077" y="307315"/>
                  </a:lnTo>
                  <a:lnTo>
                    <a:pt x="325741" y="310320"/>
                  </a:lnTo>
                  <a:lnTo>
                    <a:pt x="328264" y="312958"/>
                  </a:lnTo>
                  <a:lnTo>
                    <a:pt x="328197" y="315322"/>
                  </a:lnTo>
                  <a:lnTo>
                    <a:pt x="326733" y="315280"/>
                  </a:lnTo>
                  <a:lnTo>
                    <a:pt x="326658" y="317892"/>
                  </a:lnTo>
                  <a:lnTo>
                    <a:pt x="327561" y="318352"/>
                  </a:lnTo>
                  <a:lnTo>
                    <a:pt x="329660" y="320324"/>
                  </a:lnTo>
                  <a:lnTo>
                    <a:pt x="328608" y="321120"/>
                  </a:lnTo>
                  <a:lnTo>
                    <a:pt x="327544" y="322318"/>
                  </a:lnTo>
                  <a:lnTo>
                    <a:pt x="326509" y="323082"/>
                  </a:lnTo>
                  <a:lnTo>
                    <a:pt x="338029" y="336347"/>
                  </a:lnTo>
                  <a:lnTo>
                    <a:pt x="343147" y="345603"/>
                  </a:lnTo>
                  <a:lnTo>
                    <a:pt x="344811" y="355415"/>
                  </a:lnTo>
                  <a:lnTo>
                    <a:pt x="343208" y="360645"/>
                  </a:lnTo>
                  <a:lnTo>
                    <a:pt x="340139" y="363081"/>
                  </a:lnTo>
                  <a:lnTo>
                    <a:pt x="332789" y="365257"/>
                  </a:lnTo>
                  <a:lnTo>
                    <a:pt x="329469" y="367497"/>
                  </a:lnTo>
                  <a:lnTo>
                    <a:pt x="319279" y="378407"/>
                  </a:lnTo>
                  <a:lnTo>
                    <a:pt x="316785" y="381928"/>
                  </a:lnTo>
                  <a:lnTo>
                    <a:pt x="314640" y="386082"/>
                  </a:lnTo>
                  <a:lnTo>
                    <a:pt x="312950" y="390793"/>
                  </a:lnTo>
                  <a:lnTo>
                    <a:pt x="312332" y="393948"/>
                  </a:lnTo>
                  <a:lnTo>
                    <a:pt x="311581" y="400677"/>
                  </a:lnTo>
                  <a:lnTo>
                    <a:pt x="310964" y="403786"/>
                  </a:lnTo>
                  <a:lnTo>
                    <a:pt x="306227" y="407239"/>
                  </a:lnTo>
                  <a:lnTo>
                    <a:pt x="306573" y="408883"/>
                  </a:lnTo>
                  <a:lnTo>
                    <a:pt x="307381" y="410666"/>
                  </a:lnTo>
                  <a:lnTo>
                    <a:pt x="307779" y="411765"/>
                  </a:lnTo>
                  <a:lnTo>
                    <a:pt x="307178" y="420474"/>
                  </a:lnTo>
                  <a:lnTo>
                    <a:pt x="309076" y="422864"/>
                  </a:lnTo>
                  <a:lnTo>
                    <a:pt x="311671" y="423672"/>
                  </a:lnTo>
                  <a:lnTo>
                    <a:pt x="313209" y="427574"/>
                  </a:lnTo>
                  <a:lnTo>
                    <a:pt x="311744" y="432555"/>
                  </a:lnTo>
                  <a:lnTo>
                    <a:pt x="308283" y="433947"/>
                  </a:lnTo>
                  <a:lnTo>
                    <a:pt x="305661" y="436095"/>
                  </a:lnTo>
                  <a:lnTo>
                    <a:pt x="306846" y="443317"/>
                  </a:lnTo>
                  <a:lnTo>
                    <a:pt x="301985" y="452257"/>
                  </a:lnTo>
                  <a:lnTo>
                    <a:pt x="300554" y="455932"/>
                  </a:lnTo>
                  <a:lnTo>
                    <a:pt x="300282" y="457963"/>
                  </a:lnTo>
                  <a:lnTo>
                    <a:pt x="300277" y="465180"/>
                  </a:lnTo>
                  <a:lnTo>
                    <a:pt x="299894" y="468279"/>
                  </a:lnTo>
                  <a:lnTo>
                    <a:pt x="299174" y="468477"/>
                  </a:lnTo>
                  <a:lnTo>
                    <a:pt x="298212" y="467949"/>
                  </a:lnTo>
                  <a:lnTo>
                    <a:pt x="297214" y="468885"/>
                  </a:lnTo>
                  <a:lnTo>
                    <a:pt x="292007" y="481529"/>
                  </a:lnTo>
                  <a:lnTo>
                    <a:pt x="288384" y="486631"/>
                  </a:lnTo>
                  <a:lnTo>
                    <a:pt x="283280" y="489569"/>
                  </a:lnTo>
                  <a:lnTo>
                    <a:pt x="283206" y="491946"/>
                  </a:lnTo>
                  <a:lnTo>
                    <a:pt x="285927" y="491610"/>
                  </a:lnTo>
                  <a:lnTo>
                    <a:pt x="288077" y="492610"/>
                  </a:lnTo>
                  <a:lnTo>
                    <a:pt x="289964" y="494706"/>
                  </a:lnTo>
                  <a:lnTo>
                    <a:pt x="291913" y="497674"/>
                  </a:lnTo>
                  <a:lnTo>
                    <a:pt x="295173" y="506406"/>
                  </a:lnTo>
                  <a:lnTo>
                    <a:pt x="295294" y="507966"/>
                  </a:lnTo>
                  <a:lnTo>
                    <a:pt x="297761" y="510560"/>
                  </a:lnTo>
                  <a:lnTo>
                    <a:pt x="295398" y="516245"/>
                  </a:lnTo>
                  <a:lnTo>
                    <a:pt x="287939" y="526254"/>
                  </a:lnTo>
                  <a:lnTo>
                    <a:pt x="284260" y="529907"/>
                  </a:lnTo>
                  <a:lnTo>
                    <a:pt x="279867" y="533162"/>
                  </a:lnTo>
                  <a:lnTo>
                    <a:pt x="274968" y="535514"/>
                  </a:lnTo>
                  <a:lnTo>
                    <a:pt x="269788" y="536377"/>
                  </a:lnTo>
                  <a:lnTo>
                    <a:pt x="267724" y="535830"/>
                  </a:lnTo>
                  <a:lnTo>
                    <a:pt x="263540" y="533517"/>
                  </a:lnTo>
                  <a:lnTo>
                    <a:pt x="260981" y="533248"/>
                  </a:lnTo>
                  <a:lnTo>
                    <a:pt x="258665" y="534232"/>
                  </a:lnTo>
                  <a:lnTo>
                    <a:pt x="253629" y="537676"/>
                  </a:lnTo>
                  <a:lnTo>
                    <a:pt x="251091" y="538386"/>
                  </a:lnTo>
                  <a:lnTo>
                    <a:pt x="244796" y="538070"/>
                  </a:lnTo>
                  <a:lnTo>
                    <a:pt x="240989" y="536448"/>
                  </a:lnTo>
                  <a:lnTo>
                    <a:pt x="238848" y="531677"/>
                  </a:lnTo>
                  <a:lnTo>
                    <a:pt x="236840" y="515226"/>
                  </a:lnTo>
                  <a:lnTo>
                    <a:pt x="236693" y="506539"/>
                  </a:lnTo>
                  <a:lnTo>
                    <a:pt x="238094" y="499119"/>
                  </a:lnTo>
                  <a:lnTo>
                    <a:pt x="244337" y="494195"/>
                  </a:lnTo>
                  <a:lnTo>
                    <a:pt x="252898" y="484724"/>
                  </a:lnTo>
                  <a:lnTo>
                    <a:pt x="255143" y="480847"/>
                  </a:lnTo>
                  <a:lnTo>
                    <a:pt x="255495" y="472831"/>
                  </a:lnTo>
                  <a:lnTo>
                    <a:pt x="254723" y="464155"/>
                  </a:lnTo>
                  <a:lnTo>
                    <a:pt x="254617" y="455610"/>
                  </a:lnTo>
                  <a:lnTo>
                    <a:pt x="258049" y="444444"/>
                  </a:lnTo>
                  <a:lnTo>
                    <a:pt x="257209" y="441600"/>
                  </a:lnTo>
                  <a:lnTo>
                    <a:pt x="255825" y="439034"/>
                  </a:lnTo>
                  <a:lnTo>
                    <a:pt x="255275" y="436232"/>
                  </a:lnTo>
                  <a:lnTo>
                    <a:pt x="256215" y="431999"/>
                  </a:lnTo>
                  <a:lnTo>
                    <a:pt x="261690" y="420790"/>
                  </a:lnTo>
                  <a:lnTo>
                    <a:pt x="266688" y="407543"/>
                  </a:lnTo>
                  <a:lnTo>
                    <a:pt x="267778" y="399892"/>
                  </a:lnTo>
                  <a:lnTo>
                    <a:pt x="265476" y="394559"/>
                  </a:lnTo>
                  <a:lnTo>
                    <a:pt x="277500" y="384940"/>
                  </a:lnTo>
                  <a:lnTo>
                    <a:pt x="279161" y="380652"/>
                  </a:lnTo>
                  <a:lnTo>
                    <a:pt x="280675" y="375426"/>
                  </a:lnTo>
                  <a:lnTo>
                    <a:pt x="284084" y="368952"/>
                  </a:lnTo>
                  <a:lnTo>
                    <a:pt x="287931" y="363471"/>
                  </a:lnTo>
                  <a:lnTo>
                    <a:pt x="290873" y="361182"/>
                  </a:lnTo>
                  <a:lnTo>
                    <a:pt x="297119" y="358665"/>
                  </a:lnTo>
                  <a:lnTo>
                    <a:pt x="304752" y="351848"/>
                  </a:lnTo>
                  <a:lnTo>
                    <a:pt x="311732" y="342006"/>
                  </a:lnTo>
                  <a:lnTo>
                    <a:pt x="316042" y="330620"/>
                  </a:lnTo>
                  <a:lnTo>
                    <a:pt x="294566" y="353734"/>
                  </a:lnTo>
                  <a:lnTo>
                    <a:pt x="286698" y="359792"/>
                  </a:lnTo>
                  <a:lnTo>
                    <a:pt x="284093" y="360832"/>
                  </a:lnTo>
                  <a:lnTo>
                    <a:pt x="281256" y="360883"/>
                  </a:lnTo>
                  <a:lnTo>
                    <a:pt x="282880" y="355972"/>
                  </a:lnTo>
                  <a:lnTo>
                    <a:pt x="277061" y="353517"/>
                  </a:lnTo>
                  <a:lnTo>
                    <a:pt x="274218" y="351622"/>
                  </a:lnTo>
                  <a:lnTo>
                    <a:pt x="271403" y="347768"/>
                  </a:lnTo>
                  <a:lnTo>
                    <a:pt x="269947" y="342494"/>
                  </a:lnTo>
                  <a:lnTo>
                    <a:pt x="270051" y="332245"/>
                  </a:lnTo>
                  <a:lnTo>
                    <a:pt x="269068" y="329179"/>
                  </a:lnTo>
                  <a:lnTo>
                    <a:pt x="278526" y="315713"/>
                  </a:lnTo>
                  <a:lnTo>
                    <a:pt x="279993" y="312679"/>
                  </a:lnTo>
                  <a:lnTo>
                    <a:pt x="281487" y="307639"/>
                  </a:lnTo>
                  <a:lnTo>
                    <a:pt x="284827" y="303731"/>
                  </a:lnTo>
                  <a:lnTo>
                    <a:pt x="288809" y="300153"/>
                  </a:lnTo>
                  <a:lnTo>
                    <a:pt x="292207" y="295979"/>
                  </a:lnTo>
                  <a:lnTo>
                    <a:pt x="287324" y="298334"/>
                  </a:lnTo>
                  <a:lnTo>
                    <a:pt x="279753" y="306745"/>
                  </a:lnTo>
                  <a:lnTo>
                    <a:pt x="274048" y="309520"/>
                  </a:lnTo>
                  <a:lnTo>
                    <a:pt x="270083" y="313484"/>
                  </a:lnTo>
                  <a:lnTo>
                    <a:pt x="268110" y="313499"/>
                  </a:lnTo>
                  <a:lnTo>
                    <a:pt x="266677" y="310900"/>
                  </a:lnTo>
                  <a:lnTo>
                    <a:pt x="265498" y="306427"/>
                  </a:lnTo>
                  <a:lnTo>
                    <a:pt x="265156" y="302216"/>
                  </a:lnTo>
                  <a:lnTo>
                    <a:pt x="289753" y="266269"/>
                  </a:lnTo>
                  <a:lnTo>
                    <a:pt x="291691" y="261569"/>
                  </a:lnTo>
                  <a:lnTo>
                    <a:pt x="290841" y="259832"/>
                  </a:lnTo>
                  <a:lnTo>
                    <a:pt x="292169" y="258503"/>
                  </a:lnTo>
                  <a:lnTo>
                    <a:pt x="293426" y="256629"/>
                  </a:lnTo>
                  <a:lnTo>
                    <a:pt x="290720" y="255332"/>
                  </a:lnTo>
                  <a:lnTo>
                    <a:pt x="288000" y="256741"/>
                  </a:lnTo>
                  <a:lnTo>
                    <a:pt x="285053" y="259247"/>
                  </a:lnTo>
                  <a:lnTo>
                    <a:pt x="281625" y="261254"/>
                  </a:lnTo>
                  <a:lnTo>
                    <a:pt x="280097" y="268300"/>
                  </a:lnTo>
                  <a:lnTo>
                    <a:pt x="270528" y="278775"/>
                  </a:lnTo>
                  <a:lnTo>
                    <a:pt x="270428" y="287219"/>
                  </a:lnTo>
                  <a:lnTo>
                    <a:pt x="266628" y="293972"/>
                  </a:lnTo>
                  <a:lnTo>
                    <a:pt x="265797" y="295143"/>
                  </a:lnTo>
                  <a:lnTo>
                    <a:pt x="263684" y="294219"/>
                  </a:lnTo>
                  <a:lnTo>
                    <a:pt x="263113" y="291975"/>
                  </a:lnTo>
                  <a:lnTo>
                    <a:pt x="263550" y="289282"/>
                  </a:lnTo>
                  <a:lnTo>
                    <a:pt x="264461" y="287025"/>
                  </a:lnTo>
                  <a:lnTo>
                    <a:pt x="265976" y="276932"/>
                  </a:lnTo>
                  <a:lnTo>
                    <a:pt x="274289" y="261488"/>
                  </a:lnTo>
                  <a:lnTo>
                    <a:pt x="291087" y="238542"/>
                  </a:lnTo>
                  <a:lnTo>
                    <a:pt x="291789" y="237180"/>
                  </a:lnTo>
                  <a:lnTo>
                    <a:pt x="292157" y="235418"/>
                  </a:lnTo>
                  <a:lnTo>
                    <a:pt x="292760" y="233881"/>
                  </a:lnTo>
                  <a:lnTo>
                    <a:pt x="294154" y="233146"/>
                  </a:lnTo>
                  <a:lnTo>
                    <a:pt x="295512" y="233546"/>
                  </a:lnTo>
                  <a:lnTo>
                    <a:pt x="297203" y="234437"/>
                  </a:lnTo>
                  <a:lnTo>
                    <a:pt x="298423" y="235393"/>
                  </a:lnTo>
                  <a:lnTo>
                    <a:pt x="298442" y="235891"/>
                  </a:lnTo>
                  <a:lnTo>
                    <a:pt x="298989" y="236732"/>
                  </a:lnTo>
                  <a:lnTo>
                    <a:pt x="300738" y="237998"/>
                  </a:lnTo>
                  <a:lnTo>
                    <a:pt x="302406" y="238251"/>
                  </a:lnTo>
                  <a:lnTo>
                    <a:pt x="302795" y="236023"/>
                  </a:lnTo>
                  <a:lnTo>
                    <a:pt x="301880" y="233569"/>
                  </a:lnTo>
                  <a:lnTo>
                    <a:pt x="300504" y="232018"/>
                  </a:lnTo>
                  <a:lnTo>
                    <a:pt x="299232" y="231062"/>
                  </a:lnTo>
                  <a:lnTo>
                    <a:pt x="298609" y="230452"/>
                  </a:lnTo>
                  <a:lnTo>
                    <a:pt x="297426" y="224380"/>
                  </a:lnTo>
                  <a:lnTo>
                    <a:pt x="297154" y="221089"/>
                  </a:lnTo>
                  <a:lnTo>
                    <a:pt x="298089" y="218597"/>
                  </a:lnTo>
                  <a:lnTo>
                    <a:pt x="305259" y="207973"/>
                  </a:lnTo>
                  <a:lnTo>
                    <a:pt x="306807" y="204597"/>
                  </a:lnTo>
                  <a:lnTo>
                    <a:pt x="308262" y="199414"/>
                  </a:lnTo>
                  <a:lnTo>
                    <a:pt x="301770" y="201116"/>
                  </a:lnTo>
                  <a:lnTo>
                    <a:pt x="296786" y="206891"/>
                  </a:lnTo>
                  <a:lnTo>
                    <a:pt x="292289" y="213379"/>
                  </a:lnTo>
                  <a:lnTo>
                    <a:pt x="287244" y="217282"/>
                  </a:lnTo>
                  <a:lnTo>
                    <a:pt x="288859" y="209445"/>
                  </a:lnTo>
                  <a:lnTo>
                    <a:pt x="291857" y="201684"/>
                  </a:lnTo>
                  <a:lnTo>
                    <a:pt x="295699" y="194490"/>
                  </a:lnTo>
                  <a:lnTo>
                    <a:pt x="299898" y="188491"/>
                  </a:lnTo>
                  <a:lnTo>
                    <a:pt x="298162" y="183366"/>
                  </a:lnTo>
                  <a:lnTo>
                    <a:pt x="300878" y="179389"/>
                  </a:lnTo>
                  <a:lnTo>
                    <a:pt x="305546" y="176823"/>
                  </a:lnTo>
                  <a:lnTo>
                    <a:pt x="309704" y="175968"/>
                  </a:lnTo>
                  <a:lnTo>
                    <a:pt x="312168" y="174782"/>
                  </a:lnTo>
                  <a:lnTo>
                    <a:pt x="312656" y="172012"/>
                  </a:lnTo>
                  <a:lnTo>
                    <a:pt x="311376" y="169205"/>
                  </a:lnTo>
                  <a:lnTo>
                    <a:pt x="308566" y="167861"/>
                  </a:lnTo>
                  <a:lnTo>
                    <a:pt x="299659" y="170438"/>
                  </a:lnTo>
                  <a:lnTo>
                    <a:pt x="297740" y="171593"/>
                  </a:lnTo>
                  <a:lnTo>
                    <a:pt x="295652" y="174002"/>
                  </a:lnTo>
                  <a:lnTo>
                    <a:pt x="293528" y="175882"/>
                  </a:lnTo>
                  <a:lnTo>
                    <a:pt x="291459" y="175412"/>
                  </a:lnTo>
                  <a:lnTo>
                    <a:pt x="290313" y="172016"/>
                  </a:lnTo>
                  <a:lnTo>
                    <a:pt x="290975" y="167713"/>
                  </a:lnTo>
                  <a:lnTo>
                    <a:pt x="293545" y="159828"/>
                  </a:lnTo>
                  <a:lnTo>
                    <a:pt x="296541" y="145656"/>
                  </a:lnTo>
                  <a:lnTo>
                    <a:pt x="298780" y="140763"/>
                  </a:lnTo>
                  <a:lnTo>
                    <a:pt x="302949" y="136378"/>
                  </a:lnTo>
                  <a:lnTo>
                    <a:pt x="306787" y="138875"/>
                  </a:lnTo>
                  <a:lnTo>
                    <a:pt x="312525" y="138393"/>
                  </a:lnTo>
                  <a:lnTo>
                    <a:pt x="323254" y="134369"/>
                  </a:lnTo>
                  <a:lnTo>
                    <a:pt x="323323" y="131991"/>
                  </a:lnTo>
                  <a:lnTo>
                    <a:pt x="318225" y="132216"/>
                  </a:lnTo>
                  <a:lnTo>
                    <a:pt x="308989" y="135037"/>
                  </a:lnTo>
                  <a:lnTo>
                    <a:pt x="304338" y="133807"/>
                  </a:lnTo>
                  <a:lnTo>
                    <a:pt x="308991" y="121301"/>
                  </a:lnTo>
                  <a:lnTo>
                    <a:pt x="310708" y="118352"/>
                  </a:lnTo>
                  <a:lnTo>
                    <a:pt x="313017" y="116849"/>
                  </a:lnTo>
                  <a:lnTo>
                    <a:pt x="315773" y="115640"/>
                  </a:lnTo>
                  <a:lnTo>
                    <a:pt x="317530" y="113856"/>
                  </a:lnTo>
                  <a:lnTo>
                    <a:pt x="316721" y="110691"/>
                  </a:lnTo>
                  <a:lnTo>
                    <a:pt x="322281" y="103309"/>
                  </a:lnTo>
                  <a:lnTo>
                    <a:pt x="329445" y="100017"/>
                  </a:lnTo>
                  <a:lnTo>
                    <a:pt x="350757" y="98716"/>
                  </a:lnTo>
                  <a:lnTo>
                    <a:pt x="367686" y="104051"/>
                  </a:lnTo>
                  <a:lnTo>
                    <a:pt x="374769" y="102461"/>
                  </a:lnTo>
                  <a:lnTo>
                    <a:pt x="380564" y="97710"/>
                  </a:lnTo>
                  <a:lnTo>
                    <a:pt x="394387" y="79669"/>
                  </a:lnTo>
                  <a:lnTo>
                    <a:pt x="401687" y="64169"/>
                  </a:lnTo>
                  <a:lnTo>
                    <a:pt x="406283" y="58026"/>
                  </a:lnTo>
                  <a:lnTo>
                    <a:pt x="401597" y="60450"/>
                  </a:lnTo>
                  <a:lnTo>
                    <a:pt x="398709" y="66057"/>
                  </a:lnTo>
                  <a:lnTo>
                    <a:pt x="396229" y="72794"/>
                  </a:lnTo>
                  <a:lnTo>
                    <a:pt x="392843" y="78591"/>
                  </a:lnTo>
                  <a:lnTo>
                    <a:pt x="384018" y="86179"/>
                  </a:lnTo>
                  <a:lnTo>
                    <a:pt x="378900" y="94231"/>
                  </a:lnTo>
                  <a:lnTo>
                    <a:pt x="376534" y="96674"/>
                  </a:lnTo>
                  <a:lnTo>
                    <a:pt x="367496" y="97546"/>
                  </a:lnTo>
                  <a:lnTo>
                    <a:pt x="345185" y="91688"/>
                  </a:lnTo>
                  <a:lnTo>
                    <a:pt x="339145" y="96871"/>
                  </a:lnTo>
                  <a:lnTo>
                    <a:pt x="335798" y="94288"/>
                  </a:lnTo>
                  <a:lnTo>
                    <a:pt x="332783" y="79613"/>
                  </a:lnTo>
                  <a:lnTo>
                    <a:pt x="329878" y="80897"/>
                  </a:lnTo>
                  <a:lnTo>
                    <a:pt x="327291" y="84229"/>
                  </a:lnTo>
                  <a:lnTo>
                    <a:pt x="323033" y="92365"/>
                  </a:lnTo>
                  <a:lnTo>
                    <a:pt x="320227" y="89919"/>
                  </a:lnTo>
                  <a:lnTo>
                    <a:pt x="328202" y="71843"/>
                  </a:lnTo>
                  <a:lnTo>
                    <a:pt x="329559" y="66455"/>
                  </a:lnTo>
                  <a:lnTo>
                    <a:pt x="334436" y="71648"/>
                  </a:lnTo>
                  <a:lnTo>
                    <a:pt x="339547" y="73862"/>
                  </a:lnTo>
                  <a:lnTo>
                    <a:pt x="344311" y="73808"/>
                  </a:lnTo>
                  <a:lnTo>
                    <a:pt x="348234" y="72206"/>
                  </a:lnTo>
                  <a:lnTo>
                    <a:pt x="358511" y="64647"/>
                  </a:lnTo>
                  <a:lnTo>
                    <a:pt x="363942" y="62286"/>
                  </a:lnTo>
                  <a:lnTo>
                    <a:pt x="366625" y="60397"/>
                  </a:lnTo>
                  <a:lnTo>
                    <a:pt x="368923" y="57098"/>
                  </a:lnTo>
                  <a:lnTo>
                    <a:pt x="361739" y="61310"/>
                  </a:lnTo>
                  <a:lnTo>
                    <a:pt x="359376" y="61838"/>
                  </a:lnTo>
                  <a:lnTo>
                    <a:pt x="355169" y="61445"/>
                  </a:lnTo>
                  <a:lnTo>
                    <a:pt x="354287" y="61701"/>
                  </a:lnTo>
                  <a:lnTo>
                    <a:pt x="350680" y="64434"/>
                  </a:lnTo>
                  <a:lnTo>
                    <a:pt x="348341" y="65271"/>
                  </a:lnTo>
                  <a:lnTo>
                    <a:pt x="343674" y="69001"/>
                  </a:lnTo>
                  <a:lnTo>
                    <a:pt x="341108" y="69643"/>
                  </a:lnTo>
                  <a:lnTo>
                    <a:pt x="338630" y="68393"/>
                  </a:lnTo>
                  <a:lnTo>
                    <a:pt x="335339" y="64395"/>
                  </a:lnTo>
                  <a:lnTo>
                    <a:pt x="332523" y="63926"/>
                  </a:lnTo>
                  <a:lnTo>
                    <a:pt x="333247" y="61115"/>
                  </a:lnTo>
                  <a:lnTo>
                    <a:pt x="334037" y="59894"/>
                  </a:lnTo>
                  <a:lnTo>
                    <a:pt x="335028" y="59113"/>
                  </a:lnTo>
                  <a:lnTo>
                    <a:pt x="336350" y="57517"/>
                  </a:lnTo>
                  <a:lnTo>
                    <a:pt x="337233" y="55723"/>
                  </a:lnTo>
                  <a:lnTo>
                    <a:pt x="338036" y="52526"/>
                  </a:lnTo>
                  <a:lnTo>
                    <a:pt x="338643" y="51050"/>
                  </a:lnTo>
                  <a:lnTo>
                    <a:pt x="344391" y="40712"/>
                  </a:lnTo>
                  <a:lnTo>
                    <a:pt x="346310" y="38215"/>
                  </a:lnTo>
                  <a:lnTo>
                    <a:pt x="355157" y="30556"/>
                  </a:lnTo>
                  <a:lnTo>
                    <a:pt x="356558" y="28091"/>
                  </a:lnTo>
                  <a:lnTo>
                    <a:pt x="356559" y="28091"/>
                  </a:lnTo>
                  <a:lnTo>
                    <a:pt x="356561" y="28091"/>
                  </a:lnTo>
                  <a:lnTo>
                    <a:pt x="357666" y="28179"/>
                  </a:lnTo>
                  <a:lnTo>
                    <a:pt x="358180" y="28274"/>
                  </a:lnTo>
                  <a:lnTo>
                    <a:pt x="384891" y="32384"/>
                  </a:lnTo>
                  <a:lnTo>
                    <a:pt x="389895" y="38020"/>
                  </a:lnTo>
                  <a:lnTo>
                    <a:pt x="404426" y="41887"/>
                  </a:lnTo>
                  <a:lnTo>
                    <a:pt x="407485" y="37832"/>
                  </a:lnTo>
                  <a:lnTo>
                    <a:pt x="412264" y="35889"/>
                  </a:lnTo>
                  <a:lnTo>
                    <a:pt x="416323" y="29307"/>
                  </a:lnTo>
                  <a:lnTo>
                    <a:pt x="426687" y="28258"/>
                  </a:lnTo>
                  <a:close/>
                  <a:moveTo>
                    <a:pt x="185697" y="17229"/>
                  </a:moveTo>
                  <a:lnTo>
                    <a:pt x="188495" y="19392"/>
                  </a:lnTo>
                  <a:lnTo>
                    <a:pt x="198257" y="22939"/>
                  </a:lnTo>
                  <a:lnTo>
                    <a:pt x="197841" y="24650"/>
                  </a:lnTo>
                  <a:lnTo>
                    <a:pt x="197110" y="28777"/>
                  </a:lnTo>
                  <a:lnTo>
                    <a:pt x="196668" y="30472"/>
                  </a:lnTo>
                  <a:lnTo>
                    <a:pt x="203143" y="31291"/>
                  </a:lnTo>
                  <a:lnTo>
                    <a:pt x="208053" y="39176"/>
                  </a:lnTo>
                  <a:lnTo>
                    <a:pt x="215810" y="60125"/>
                  </a:lnTo>
                  <a:lnTo>
                    <a:pt x="216355" y="62820"/>
                  </a:lnTo>
                  <a:lnTo>
                    <a:pt x="216270" y="65338"/>
                  </a:lnTo>
                  <a:lnTo>
                    <a:pt x="216749" y="67254"/>
                  </a:lnTo>
                  <a:lnTo>
                    <a:pt x="218916" y="68080"/>
                  </a:lnTo>
                  <a:lnTo>
                    <a:pt x="239966" y="68830"/>
                  </a:lnTo>
                  <a:lnTo>
                    <a:pt x="241615" y="70255"/>
                  </a:lnTo>
                  <a:lnTo>
                    <a:pt x="243061" y="72578"/>
                  </a:lnTo>
                  <a:lnTo>
                    <a:pt x="244580" y="74092"/>
                  </a:lnTo>
                  <a:lnTo>
                    <a:pt x="247907" y="71966"/>
                  </a:lnTo>
                  <a:lnTo>
                    <a:pt x="249996" y="71617"/>
                  </a:lnTo>
                  <a:lnTo>
                    <a:pt x="252056" y="72108"/>
                  </a:lnTo>
                  <a:lnTo>
                    <a:pt x="253491" y="73324"/>
                  </a:lnTo>
                  <a:lnTo>
                    <a:pt x="257904" y="80893"/>
                  </a:lnTo>
                  <a:lnTo>
                    <a:pt x="259651" y="82539"/>
                  </a:lnTo>
                  <a:lnTo>
                    <a:pt x="261681" y="83229"/>
                  </a:lnTo>
                  <a:lnTo>
                    <a:pt x="265607" y="82690"/>
                  </a:lnTo>
                  <a:lnTo>
                    <a:pt x="266995" y="82783"/>
                  </a:lnTo>
                  <a:lnTo>
                    <a:pt x="269349" y="84853"/>
                  </a:lnTo>
                  <a:lnTo>
                    <a:pt x="272099" y="88457"/>
                  </a:lnTo>
                  <a:lnTo>
                    <a:pt x="274323" y="92963"/>
                  </a:lnTo>
                  <a:lnTo>
                    <a:pt x="275149" y="97657"/>
                  </a:lnTo>
                  <a:lnTo>
                    <a:pt x="276694" y="98533"/>
                  </a:lnTo>
                  <a:lnTo>
                    <a:pt x="279803" y="97854"/>
                  </a:lnTo>
                  <a:lnTo>
                    <a:pt x="281952" y="99448"/>
                  </a:lnTo>
                  <a:lnTo>
                    <a:pt x="280626" y="106966"/>
                  </a:lnTo>
                  <a:lnTo>
                    <a:pt x="278915" y="105604"/>
                  </a:lnTo>
                  <a:lnTo>
                    <a:pt x="277209" y="104896"/>
                  </a:lnTo>
                  <a:lnTo>
                    <a:pt x="273372" y="104119"/>
                  </a:lnTo>
                  <a:lnTo>
                    <a:pt x="275134" y="106789"/>
                  </a:lnTo>
                  <a:lnTo>
                    <a:pt x="278045" y="112265"/>
                  </a:lnTo>
                  <a:lnTo>
                    <a:pt x="279422" y="117583"/>
                  </a:lnTo>
                  <a:lnTo>
                    <a:pt x="276661" y="119906"/>
                  </a:lnTo>
                  <a:lnTo>
                    <a:pt x="269740" y="119836"/>
                  </a:lnTo>
                  <a:lnTo>
                    <a:pt x="266746" y="118213"/>
                  </a:lnTo>
                  <a:lnTo>
                    <a:pt x="267260" y="114123"/>
                  </a:lnTo>
                  <a:lnTo>
                    <a:pt x="266041" y="112466"/>
                  </a:lnTo>
                  <a:lnTo>
                    <a:pt x="264751" y="111677"/>
                  </a:lnTo>
                  <a:lnTo>
                    <a:pt x="263322" y="111442"/>
                  </a:lnTo>
                  <a:lnTo>
                    <a:pt x="261699" y="111575"/>
                  </a:lnTo>
                  <a:lnTo>
                    <a:pt x="262220" y="116601"/>
                  </a:lnTo>
                  <a:lnTo>
                    <a:pt x="259531" y="121024"/>
                  </a:lnTo>
                  <a:lnTo>
                    <a:pt x="252380" y="126912"/>
                  </a:lnTo>
                  <a:lnTo>
                    <a:pt x="252283" y="129755"/>
                  </a:lnTo>
                  <a:lnTo>
                    <a:pt x="255745" y="127259"/>
                  </a:lnTo>
                  <a:lnTo>
                    <a:pt x="259605" y="125708"/>
                  </a:lnTo>
                  <a:lnTo>
                    <a:pt x="267629" y="124807"/>
                  </a:lnTo>
                  <a:lnTo>
                    <a:pt x="271011" y="126738"/>
                  </a:lnTo>
                  <a:lnTo>
                    <a:pt x="269446" y="130841"/>
                  </a:lnTo>
                  <a:lnTo>
                    <a:pt x="265647" y="135228"/>
                  </a:lnTo>
                  <a:lnTo>
                    <a:pt x="246421" y="147525"/>
                  </a:lnTo>
                  <a:lnTo>
                    <a:pt x="237983" y="149256"/>
                  </a:lnTo>
                  <a:lnTo>
                    <a:pt x="231389" y="144451"/>
                  </a:lnTo>
                  <a:lnTo>
                    <a:pt x="232790" y="143364"/>
                  </a:lnTo>
                  <a:lnTo>
                    <a:pt x="235205" y="140929"/>
                  </a:lnTo>
                  <a:lnTo>
                    <a:pt x="237266" y="137734"/>
                  </a:lnTo>
                  <a:lnTo>
                    <a:pt x="237665" y="134247"/>
                  </a:lnTo>
                  <a:lnTo>
                    <a:pt x="236000" y="132089"/>
                  </a:lnTo>
                  <a:lnTo>
                    <a:pt x="233400" y="132230"/>
                  </a:lnTo>
                  <a:lnTo>
                    <a:pt x="228143" y="133912"/>
                  </a:lnTo>
                  <a:lnTo>
                    <a:pt x="227014" y="135085"/>
                  </a:lnTo>
                  <a:lnTo>
                    <a:pt x="225763" y="137748"/>
                  </a:lnTo>
                  <a:lnTo>
                    <a:pt x="224185" y="140398"/>
                  </a:lnTo>
                  <a:lnTo>
                    <a:pt x="222151" y="141539"/>
                  </a:lnTo>
                  <a:lnTo>
                    <a:pt x="214959" y="142913"/>
                  </a:lnTo>
                  <a:lnTo>
                    <a:pt x="197779" y="151007"/>
                  </a:lnTo>
                  <a:lnTo>
                    <a:pt x="194003" y="154973"/>
                  </a:lnTo>
                  <a:lnTo>
                    <a:pt x="191503" y="156901"/>
                  </a:lnTo>
                  <a:lnTo>
                    <a:pt x="188874" y="156085"/>
                  </a:lnTo>
                  <a:lnTo>
                    <a:pt x="186313" y="154214"/>
                  </a:lnTo>
                  <a:lnTo>
                    <a:pt x="183928" y="153157"/>
                  </a:lnTo>
                  <a:lnTo>
                    <a:pt x="181742" y="153851"/>
                  </a:lnTo>
                  <a:lnTo>
                    <a:pt x="176569" y="157198"/>
                  </a:lnTo>
                  <a:lnTo>
                    <a:pt x="174264" y="158261"/>
                  </a:lnTo>
                  <a:lnTo>
                    <a:pt x="154585" y="157478"/>
                  </a:lnTo>
                  <a:lnTo>
                    <a:pt x="153277" y="158639"/>
                  </a:lnTo>
                  <a:lnTo>
                    <a:pt x="152193" y="161270"/>
                  </a:lnTo>
                  <a:lnTo>
                    <a:pt x="150789" y="163921"/>
                  </a:lnTo>
                  <a:lnTo>
                    <a:pt x="148539" y="165043"/>
                  </a:lnTo>
                  <a:lnTo>
                    <a:pt x="145908" y="164702"/>
                  </a:lnTo>
                  <a:lnTo>
                    <a:pt x="141571" y="163030"/>
                  </a:lnTo>
                  <a:lnTo>
                    <a:pt x="135896" y="159262"/>
                  </a:lnTo>
                  <a:lnTo>
                    <a:pt x="132237" y="154877"/>
                  </a:lnTo>
                  <a:lnTo>
                    <a:pt x="129399" y="148905"/>
                  </a:lnTo>
                  <a:lnTo>
                    <a:pt x="128442" y="141768"/>
                  </a:lnTo>
                  <a:lnTo>
                    <a:pt x="130601" y="136443"/>
                  </a:lnTo>
                  <a:lnTo>
                    <a:pt x="135297" y="133496"/>
                  </a:lnTo>
                  <a:lnTo>
                    <a:pt x="140662" y="132646"/>
                  </a:lnTo>
                  <a:lnTo>
                    <a:pt x="144841" y="133565"/>
                  </a:lnTo>
                  <a:lnTo>
                    <a:pt x="148032" y="137727"/>
                  </a:lnTo>
                  <a:lnTo>
                    <a:pt x="150620" y="143405"/>
                  </a:lnTo>
                  <a:lnTo>
                    <a:pt x="153449" y="146818"/>
                  </a:lnTo>
                  <a:lnTo>
                    <a:pt x="157436" y="144272"/>
                  </a:lnTo>
                  <a:lnTo>
                    <a:pt x="157542" y="141662"/>
                  </a:lnTo>
                  <a:lnTo>
                    <a:pt x="155887" y="141205"/>
                  </a:lnTo>
                  <a:lnTo>
                    <a:pt x="155000" y="140532"/>
                  </a:lnTo>
                  <a:lnTo>
                    <a:pt x="154308" y="139741"/>
                  </a:lnTo>
                  <a:lnTo>
                    <a:pt x="153186" y="138902"/>
                  </a:lnTo>
                  <a:lnTo>
                    <a:pt x="157115" y="137319"/>
                  </a:lnTo>
                  <a:lnTo>
                    <a:pt x="166579" y="139859"/>
                  </a:lnTo>
                  <a:lnTo>
                    <a:pt x="169980" y="138267"/>
                  </a:lnTo>
                  <a:lnTo>
                    <a:pt x="173708" y="134959"/>
                  </a:lnTo>
                  <a:lnTo>
                    <a:pt x="188421" y="132447"/>
                  </a:lnTo>
                  <a:lnTo>
                    <a:pt x="198213" y="125863"/>
                  </a:lnTo>
                  <a:lnTo>
                    <a:pt x="202407" y="121819"/>
                  </a:lnTo>
                  <a:lnTo>
                    <a:pt x="201180" y="119859"/>
                  </a:lnTo>
                  <a:lnTo>
                    <a:pt x="196912" y="120866"/>
                  </a:lnTo>
                  <a:lnTo>
                    <a:pt x="184276" y="127293"/>
                  </a:lnTo>
                  <a:lnTo>
                    <a:pt x="173896" y="129551"/>
                  </a:lnTo>
                  <a:lnTo>
                    <a:pt x="168643" y="128971"/>
                  </a:lnTo>
                  <a:lnTo>
                    <a:pt x="164643" y="125109"/>
                  </a:lnTo>
                  <a:lnTo>
                    <a:pt x="163818" y="120983"/>
                  </a:lnTo>
                  <a:lnTo>
                    <a:pt x="164901" y="117198"/>
                  </a:lnTo>
                  <a:lnTo>
                    <a:pt x="167053" y="114436"/>
                  </a:lnTo>
                  <a:lnTo>
                    <a:pt x="169452" y="113443"/>
                  </a:lnTo>
                  <a:lnTo>
                    <a:pt x="172284" y="112822"/>
                  </a:lnTo>
                  <a:lnTo>
                    <a:pt x="173956" y="111037"/>
                  </a:lnTo>
                  <a:lnTo>
                    <a:pt x="177343" y="103296"/>
                  </a:lnTo>
                  <a:lnTo>
                    <a:pt x="178088" y="100539"/>
                  </a:lnTo>
                  <a:lnTo>
                    <a:pt x="179148" y="97872"/>
                  </a:lnTo>
                  <a:lnTo>
                    <a:pt x="181051" y="95612"/>
                  </a:lnTo>
                  <a:lnTo>
                    <a:pt x="183107" y="94945"/>
                  </a:lnTo>
                  <a:lnTo>
                    <a:pt x="190548" y="95978"/>
                  </a:lnTo>
                  <a:lnTo>
                    <a:pt x="203371" y="90473"/>
                  </a:lnTo>
                  <a:lnTo>
                    <a:pt x="205981" y="88484"/>
                  </a:lnTo>
                  <a:lnTo>
                    <a:pt x="207353" y="84661"/>
                  </a:lnTo>
                  <a:lnTo>
                    <a:pt x="207647" y="80953"/>
                  </a:lnTo>
                  <a:lnTo>
                    <a:pt x="206880" y="77781"/>
                  </a:lnTo>
                  <a:lnTo>
                    <a:pt x="205029" y="75411"/>
                  </a:lnTo>
                  <a:lnTo>
                    <a:pt x="191173" y="81998"/>
                  </a:lnTo>
                  <a:lnTo>
                    <a:pt x="186668" y="82526"/>
                  </a:lnTo>
                  <a:lnTo>
                    <a:pt x="185025" y="83428"/>
                  </a:lnTo>
                  <a:lnTo>
                    <a:pt x="183166" y="85051"/>
                  </a:lnTo>
                  <a:lnTo>
                    <a:pt x="181250" y="85709"/>
                  </a:lnTo>
                  <a:lnTo>
                    <a:pt x="179353" y="83690"/>
                  </a:lnTo>
                  <a:lnTo>
                    <a:pt x="176232" y="75678"/>
                  </a:lnTo>
                  <a:lnTo>
                    <a:pt x="174468" y="72108"/>
                  </a:lnTo>
                  <a:lnTo>
                    <a:pt x="172009" y="69163"/>
                  </a:lnTo>
                  <a:lnTo>
                    <a:pt x="167766" y="66443"/>
                  </a:lnTo>
                  <a:lnTo>
                    <a:pt x="148207" y="62227"/>
                  </a:lnTo>
                  <a:lnTo>
                    <a:pt x="144235" y="60149"/>
                  </a:lnTo>
                  <a:lnTo>
                    <a:pt x="140851" y="57347"/>
                  </a:lnTo>
                  <a:lnTo>
                    <a:pt x="138057" y="54243"/>
                  </a:lnTo>
                  <a:lnTo>
                    <a:pt x="148434" y="47064"/>
                  </a:lnTo>
                  <a:lnTo>
                    <a:pt x="146836" y="43450"/>
                  </a:lnTo>
                  <a:lnTo>
                    <a:pt x="142728" y="38410"/>
                  </a:lnTo>
                  <a:lnTo>
                    <a:pt x="141665" y="33727"/>
                  </a:lnTo>
                  <a:lnTo>
                    <a:pt x="149416" y="33332"/>
                  </a:lnTo>
                  <a:lnTo>
                    <a:pt x="152912" y="31858"/>
                  </a:lnTo>
                  <a:lnTo>
                    <a:pt x="156373" y="28887"/>
                  </a:lnTo>
                  <a:lnTo>
                    <a:pt x="158107" y="31914"/>
                  </a:lnTo>
                  <a:lnTo>
                    <a:pt x="159891" y="33526"/>
                  </a:lnTo>
                  <a:lnTo>
                    <a:pt x="161661" y="33598"/>
                  </a:lnTo>
                  <a:lnTo>
                    <a:pt x="163293" y="31999"/>
                  </a:lnTo>
                  <a:lnTo>
                    <a:pt x="164114" y="24640"/>
                  </a:lnTo>
                  <a:lnTo>
                    <a:pt x="170512" y="20057"/>
                  </a:lnTo>
                  <a:lnTo>
                    <a:pt x="178902" y="17758"/>
                  </a:lnTo>
                  <a:close/>
                  <a:moveTo>
                    <a:pt x="114286" y="0"/>
                  </a:moveTo>
                  <a:lnTo>
                    <a:pt x="116286" y="1162"/>
                  </a:lnTo>
                  <a:lnTo>
                    <a:pt x="114714" y="5031"/>
                  </a:lnTo>
                  <a:lnTo>
                    <a:pt x="112549" y="8749"/>
                  </a:lnTo>
                  <a:lnTo>
                    <a:pt x="109312" y="16358"/>
                  </a:lnTo>
                  <a:lnTo>
                    <a:pt x="107687" y="19228"/>
                  </a:lnTo>
                  <a:lnTo>
                    <a:pt x="105999" y="21395"/>
                  </a:lnTo>
                  <a:lnTo>
                    <a:pt x="104302" y="22954"/>
                  </a:lnTo>
                  <a:lnTo>
                    <a:pt x="102300" y="23878"/>
                  </a:lnTo>
                  <a:lnTo>
                    <a:pt x="99559" y="24097"/>
                  </a:lnTo>
                  <a:lnTo>
                    <a:pt x="91334" y="34374"/>
                  </a:lnTo>
                  <a:lnTo>
                    <a:pt x="79948" y="42853"/>
                  </a:lnTo>
                  <a:lnTo>
                    <a:pt x="76375" y="43918"/>
                  </a:lnTo>
                  <a:lnTo>
                    <a:pt x="71398" y="41446"/>
                  </a:lnTo>
                  <a:lnTo>
                    <a:pt x="68933" y="41347"/>
                  </a:lnTo>
                  <a:lnTo>
                    <a:pt x="67706" y="44823"/>
                  </a:lnTo>
                  <a:lnTo>
                    <a:pt x="66699" y="48714"/>
                  </a:lnTo>
                  <a:lnTo>
                    <a:pt x="64917" y="46513"/>
                  </a:lnTo>
                  <a:lnTo>
                    <a:pt x="63152" y="41760"/>
                  </a:lnTo>
                  <a:lnTo>
                    <a:pt x="62147" y="38024"/>
                  </a:lnTo>
                  <a:lnTo>
                    <a:pt x="67962" y="37223"/>
                  </a:lnTo>
                  <a:lnTo>
                    <a:pt x="73761" y="31982"/>
                  </a:lnTo>
                  <a:lnTo>
                    <a:pt x="83977" y="16856"/>
                  </a:lnTo>
                  <a:lnTo>
                    <a:pt x="86538" y="13829"/>
                  </a:lnTo>
                  <a:lnTo>
                    <a:pt x="93517" y="9010"/>
                  </a:lnTo>
                  <a:lnTo>
                    <a:pt x="98563" y="7103"/>
                  </a:lnTo>
                  <a:lnTo>
                    <a:pt x="105059" y="1836"/>
                  </a:lnTo>
                  <a:lnTo>
                    <a:pt x="108510" y="728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80">
              <a:extLst>
                <a:ext uri="{FF2B5EF4-FFF2-40B4-BE49-F238E27FC236}">
                  <a16:creationId xmlns:a16="http://schemas.microsoft.com/office/drawing/2014/main" id="{C78DDB13-576E-2104-5BBF-F93BD5D080AC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7029839" y="604480"/>
              <a:ext cx="614879" cy="1257015"/>
            </a:xfrm>
            <a:custGeom>
              <a:avLst/>
              <a:gdLst/>
              <a:ahLst/>
              <a:cxnLst/>
              <a:rect l="l" t="t" r="r" b="b"/>
              <a:pathLst>
                <a:path w="251366" h="513875">
                  <a:moveTo>
                    <a:pt x="102996" y="496046"/>
                  </a:moveTo>
                  <a:lnTo>
                    <a:pt x="106821" y="496054"/>
                  </a:lnTo>
                  <a:lnTo>
                    <a:pt x="107014" y="497898"/>
                  </a:lnTo>
                  <a:lnTo>
                    <a:pt x="106745" y="498450"/>
                  </a:lnTo>
                  <a:lnTo>
                    <a:pt x="106249" y="498494"/>
                  </a:lnTo>
                  <a:lnTo>
                    <a:pt x="105694" y="498944"/>
                  </a:lnTo>
                  <a:lnTo>
                    <a:pt x="102935" y="499607"/>
                  </a:lnTo>
                  <a:lnTo>
                    <a:pt x="102105" y="500997"/>
                  </a:lnTo>
                  <a:lnTo>
                    <a:pt x="101745" y="504006"/>
                  </a:lnTo>
                  <a:lnTo>
                    <a:pt x="104394" y="503936"/>
                  </a:lnTo>
                  <a:lnTo>
                    <a:pt x="104471" y="506778"/>
                  </a:lnTo>
                  <a:lnTo>
                    <a:pt x="101302" y="508945"/>
                  </a:lnTo>
                  <a:lnTo>
                    <a:pt x="97937" y="512701"/>
                  </a:lnTo>
                  <a:lnTo>
                    <a:pt x="95204" y="513875"/>
                  </a:lnTo>
                  <a:lnTo>
                    <a:pt x="93934" y="508235"/>
                  </a:lnTo>
                  <a:lnTo>
                    <a:pt x="95240" y="501829"/>
                  </a:lnTo>
                  <a:lnTo>
                    <a:pt x="98707" y="497853"/>
                  </a:lnTo>
                  <a:close/>
                  <a:moveTo>
                    <a:pt x="150889" y="282537"/>
                  </a:moveTo>
                  <a:lnTo>
                    <a:pt x="151906" y="282584"/>
                  </a:lnTo>
                  <a:lnTo>
                    <a:pt x="152163" y="286041"/>
                  </a:lnTo>
                  <a:lnTo>
                    <a:pt x="151044" y="291158"/>
                  </a:lnTo>
                  <a:lnTo>
                    <a:pt x="150800" y="293030"/>
                  </a:lnTo>
                  <a:lnTo>
                    <a:pt x="152308" y="290871"/>
                  </a:lnTo>
                  <a:lnTo>
                    <a:pt x="153606" y="290675"/>
                  </a:lnTo>
                  <a:lnTo>
                    <a:pt x="154357" y="293543"/>
                  </a:lnTo>
                  <a:lnTo>
                    <a:pt x="153526" y="297469"/>
                  </a:lnTo>
                  <a:lnTo>
                    <a:pt x="152135" y="301382"/>
                  </a:lnTo>
                  <a:lnTo>
                    <a:pt x="150599" y="307396"/>
                  </a:lnTo>
                  <a:lnTo>
                    <a:pt x="149386" y="310107"/>
                  </a:lnTo>
                  <a:lnTo>
                    <a:pt x="148342" y="310029"/>
                  </a:lnTo>
                  <a:lnTo>
                    <a:pt x="148450" y="307275"/>
                  </a:lnTo>
                  <a:lnTo>
                    <a:pt x="149117" y="303277"/>
                  </a:lnTo>
                  <a:lnTo>
                    <a:pt x="149112" y="298630"/>
                  </a:lnTo>
                  <a:lnTo>
                    <a:pt x="148793" y="297630"/>
                  </a:lnTo>
                  <a:lnTo>
                    <a:pt x="148643" y="300028"/>
                  </a:lnTo>
                  <a:lnTo>
                    <a:pt x="148226" y="302340"/>
                  </a:lnTo>
                  <a:lnTo>
                    <a:pt x="145420" y="307320"/>
                  </a:lnTo>
                  <a:lnTo>
                    <a:pt x="142816" y="309839"/>
                  </a:lnTo>
                  <a:lnTo>
                    <a:pt x="142392" y="308204"/>
                  </a:lnTo>
                  <a:lnTo>
                    <a:pt x="144739" y="304683"/>
                  </a:lnTo>
                  <a:lnTo>
                    <a:pt x="145552" y="300323"/>
                  </a:lnTo>
                  <a:lnTo>
                    <a:pt x="146241" y="294987"/>
                  </a:lnTo>
                  <a:lnTo>
                    <a:pt x="147945" y="291112"/>
                  </a:lnTo>
                  <a:lnTo>
                    <a:pt x="147406" y="288751"/>
                  </a:lnTo>
                  <a:lnTo>
                    <a:pt x="146099" y="286925"/>
                  </a:lnTo>
                  <a:lnTo>
                    <a:pt x="146295" y="285241"/>
                  </a:lnTo>
                  <a:lnTo>
                    <a:pt x="149677" y="284206"/>
                  </a:lnTo>
                  <a:close/>
                  <a:moveTo>
                    <a:pt x="8915" y="270213"/>
                  </a:moveTo>
                  <a:lnTo>
                    <a:pt x="11113" y="270854"/>
                  </a:lnTo>
                  <a:lnTo>
                    <a:pt x="11999" y="274037"/>
                  </a:lnTo>
                  <a:lnTo>
                    <a:pt x="12295" y="280866"/>
                  </a:lnTo>
                  <a:lnTo>
                    <a:pt x="9546" y="285209"/>
                  </a:lnTo>
                  <a:lnTo>
                    <a:pt x="4947" y="283280"/>
                  </a:lnTo>
                  <a:lnTo>
                    <a:pt x="1362" y="279994"/>
                  </a:lnTo>
                  <a:lnTo>
                    <a:pt x="0" y="277751"/>
                  </a:lnTo>
                  <a:lnTo>
                    <a:pt x="317" y="274948"/>
                  </a:lnTo>
                  <a:lnTo>
                    <a:pt x="1598" y="273122"/>
                  </a:lnTo>
                  <a:lnTo>
                    <a:pt x="4515" y="270999"/>
                  </a:lnTo>
                  <a:close/>
                  <a:moveTo>
                    <a:pt x="195951" y="253338"/>
                  </a:moveTo>
                  <a:lnTo>
                    <a:pt x="196883" y="255404"/>
                  </a:lnTo>
                  <a:lnTo>
                    <a:pt x="197355" y="259135"/>
                  </a:lnTo>
                  <a:lnTo>
                    <a:pt x="198085" y="262467"/>
                  </a:lnTo>
                  <a:lnTo>
                    <a:pt x="199433" y="262483"/>
                  </a:lnTo>
                  <a:lnTo>
                    <a:pt x="201702" y="260275"/>
                  </a:lnTo>
                  <a:lnTo>
                    <a:pt x="201810" y="262882"/>
                  </a:lnTo>
                  <a:lnTo>
                    <a:pt x="201572" y="268378"/>
                  </a:lnTo>
                  <a:lnTo>
                    <a:pt x="200433" y="272536"/>
                  </a:lnTo>
                  <a:lnTo>
                    <a:pt x="199160" y="275797"/>
                  </a:lnTo>
                  <a:lnTo>
                    <a:pt x="198108" y="284040"/>
                  </a:lnTo>
                  <a:lnTo>
                    <a:pt x="196220" y="285083"/>
                  </a:lnTo>
                  <a:lnTo>
                    <a:pt x="190539" y="281032"/>
                  </a:lnTo>
                  <a:lnTo>
                    <a:pt x="188682" y="278483"/>
                  </a:lnTo>
                  <a:lnTo>
                    <a:pt x="188819" y="266075"/>
                  </a:lnTo>
                  <a:lnTo>
                    <a:pt x="185538" y="261461"/>
                  </a:lnTo>
                  <a:lnTo>
                    <a:pt x="185537" y="257358"/>
                  </a:lnTo>
                  <a:lnTo>
                    <a:pt x="189153" y="256677"/>
                  </a:lnTo>
                  <a:lnTo>
                    <a:pt x="192685" y="258252"/>
                  </a:lnTo>
                  <a:lnTo>
                    <a:pt x="194161" y="257269"/>
                  </a:lnTo>
                  <a:lnTo>
                    <a:pt x="194653" y="254082"/>
                  </a:lnTo>
                  <a:close/>
                  <a:moveTo>
                    <a:pt x="224793" y="176501"/>
                  </a:moveTo>
                  <a:lnTo>
                    <a:pt x="225134" y="178200"/>
                  </a:lnTo>
                  <a:lnTo>
                    <a:pt x="223985" y="180401"/>
                  </a:lnTo>
                  <a:lnTo>
                    <a:pt x="221519" y="183615"/>
                  </a:lnTo>
                  <a:lnTo>
                    <a:pt x="218445" y="188545"/>
                  </a:lnTo>
                  <a:lnTo>
                    <a:pt x="213485" y="194660"/>
                  </a:lnTo>
                  <a:lnTo>
                    <a:pt x="206150" y="197281"/>
                  </a:lnTo>
                  <a:lnTo>
                    <a:pt x="202496" y="195108"/>
                  </a:lnTo>
                  <a:lnTo>
                    <a:pt x="203398" y="192978"/>
                  </a:lnTo>
                  <a:lnTo>
                    <a:pt x="204354" y="191499"/>
                  </a:lnTo>
                  <a:lnTo>
                    <a:pt x="204670" y="189562"/>
                  </a:lnTo>
                  <a:lnTo>
                    <a:pt x="205535" y="186656"/>
                  </a:lnTo>
                  <a:lnTo>
                    <a:pt x="207331" y="183935"/>
                  </a:lnTo>
                  <a:lnTo>
                    <a:pt x="209409" y="182836"/>
                  </a:lnTo>
                  <a:lnTo>
                    <a:pt x="211591" y="182511"/>
                  </a:lnTo>
                  <a:lnTo>
                    <a:pt x="213271" y="181067"/>
                  </a:lnTo>
                  <a:lnTo>
                    <a:pt x="214498" y="179065"/>
                  </a:lnTo>
                  <a:lnTo>
                    <a:pt x="221146" y="178173"/>
                  </a:lnTo>
                  <a:lnTo>
                    <a:pt x="223103" y="177402"/>
                  </a:lnTo>
                  <a:lnTo>
                    <a:pt x="223649" y="176776"/>
                  </a:lnTo>
                  <a:close/>
                  <a:moveTo>
                    <a:pt x="238284" y="83582"/>
                  </a:moveTo>
                  <a:lnTo>
                    <a:pt x="240318" y="84593"/>
                  </a:lnTo>
                  <a:lnTo>
                    <a:pt x="240691" y="87081"/>
                  </a:lnTo>
                  <a:lnTo>
                    <a:pt x="240567" y="89776"/>
                  </a:lnTo>
                  <a:lnTo>
                    <a:pt x="241039" y="91280"/>
                  </a:lnTo>
                  <a:lnTo>
                    <a:pt x="242693" y="91341"/>
                  </a:lnTo>
                  <a:lnTo>
                    <a:pt x="243922" y="90331"/>
                  </a:lnTo>
                  <a:lnTo>
                    <a:pt x="244853" y="89114"/>
                  </a:lnTo>
                  <a:lnTo>
                    <a:pt x="245531" y="88497"/>
                  </a:lnTo>
                  <a:lnTo>
                    <a:pt x="248454" y="89131"/>
                  </a:lnTo>
                  <a:lnTo>
                    <a:pt x="250562" y="91194"/>
                  </a:lnTo>
                  <a:lnTo>
                    <a:pt x="251366" y="94458"/>
                  </a:lnTo>
                  <a:lnTo>
                    <a:pt x="250421" y="98738"/>
                  </a:lnTo>
                  <a:lnTo>
                    <a:pt x="245997" y="103308"/>
                  </a:lnTo>
                  <a:lnTo>
                    <a:pt x="240693" y="101925"/>
                  </a:lnTo>
                  <a:lnTo>
                    <a:pt x="235129" y="99135"/>
                  </a:lnTo>
                  <a:lnTo>
                    <a:pt x="229820" y="99520"/>
                  </a:lnTo>
                  <a:lnTo>
                    <a:pt x="229929" y="102360"/>
                  </a:lnTo>
                  <a:lnTo>
                    <a:pt x="231022" y="103532"/>
                  </a:lnTo>
                  <a:lnTo>
                    <a:pt x="231624" y="104660"/>
                  </a:lnTo>
                  <a:lnTo>
                    <a:pt x="232107" y="105855"/>
                  </a:lnTo>
                  <a:lnTo>
                    <a:pt x="232803" y="107242"/>
                  </a:lnTo>
                  <a:lnTo>
                    <a:pt x="227620" y="106208"/>
                  </a:lnTo>
                  <a:lnTo>
                    <a:pt x="223288" y="100134"/>
                  </a:lnTo>
                  <a:lnTo>
                    <a:pt x="216509" y="87218"/>
                  </a:lnTo>
                  <a:lnTo>
                    <a:pt x="216403" y="84392"/>
                  </a:lnTo>
                  <a:close/>
                  <a:moveTo>
                    <a:pt x="148235" y="81210"/>
                  </a:moveTo>
                  <a:lnTo>
                    <a:pt x="150356" y="88757"/>
                  </a:lnTo>
                  <a:lnTo>
                    <a:pt x="150591" y="91795"/>
                  </a:lnTo>
                  <a:lnTo>
                    <a:pt x="149858" y="94429"/>
                  </a:lnTo>
                  <a:lnTo>
                    <a:pt x="150514" y="97734"/>
                  </a:lnTo>
                  <a:lnTo>
                    <a:pt x="150324" y="100164"/>
                  </a:lnTo>
                  <a:lnTo>
                    <a:pt x="149319" y="101717"/>
                  </a:lnTo>
                  <a:lnTo>
                    <a:pt x="147540" y="102316"/>
                  </a:lnTo>
                  <a:lnTo>
                    <a:pt x="149188" y="111044"/>
                  </a:lnTo>
                  <a:lnTo>
                    <a:pt x="147812" y="115189"/>
                  </a:lnTo>
                  <a:lnTo>
                    <a:pt x="145174" y="118191"/>
                  </a:lnTo>
                  <a:lnTo>
                    <a:pt x="143053" y="123322"/>
                  </a:lnTo>
                  <a:lnTo>
                    <a:pt x="146918" y="123204"/>
                  </a:lnTo>
                  <a:lnTo>
                    <a:pt x="146082" y="125109"/>
                  </a:lnTo>
                  <a:lnTo>
                    <a:pt x="145253" y="125787"/>
                  </a:lnTo>
                  <a:lnTo>
                    <a:pt x="143141" y="126147"/>
                  </a:lnTo>
                  <a:lnTo>
                    <a:pt x="144205" y="126844"/>
                  </a:lnTo>
                  <a:lnTo>
                    <a:pt x="144844" y="127664"/>
                  </a:lnTo>
                  <a:lnTo>
                    <a:pt x="145609" y="128340"/>
                  </a:lnTo>
                  <a:lnTo>
                    <a:pt x="147090" y="128637"/>
                  </a:lnTo>
                  <a:lnTo>
                    <a:pt x="143625" y="141546"/>
                  </a:lnTo>
                  <a:lnTo>
                    <a:pt x="145414" y="141119"/>
                  </a:lnTo>
                  <a:lnTo>
                    <a:pt x="147085" y="140104"/>
                  </a:lnTo>
                  <a:lnTo>
                    <a:pt x="148608" y="138535"/>
                  </a:lnTo>
                  <a:lnTo>
                    <a:pt x="149996" y="136379"/>
                  </a:lnTo>
                  <a:lnTo>
                    <a:pt x="151275" y="138701"/>
                  </a:lnTo>
                  <a:lnTo>
                    <a:pt x="148800" y="144590"/>
                  </a:lnTo>
                  <a:lnTo>
                    <a:pt x="148354" y="146949"/>
                  </a:lnTo>
                  <a:lnTo>
                    <a:pt x="149032" y="149212"/>
                  </a:lnTo>
                  <a:lnTo>
                    <a:pt x="149122" y="152053"/>
                  </a:lnTo>
                  <a:lnTo>
                    <a:pt x="145545" y="153794"/>
                  </a:lnTo>
                  <a:lnTo>
                    <a:pt x="141463" y="167220"/>
                  </a:lnTo>
                  <a:lnTo>
                    <a:pt x="138086" y="170647"/>
                  </a:lnTo>
                  <a:lnTo>
                    <a:pt x="138174" y="173503"/>
                  </a:lnTo>
                  <a:lnTo>
                    <a:pt x="140588" y="173710"/>
                  </a:lnTo>
                  <a:lnTo>
                    <a:pt x="142929" y="173299"/>
                  </a:lnTo>
                  <a:lnTo>
                    <a:pt x="145102" y="172207"/>
                  </a:lnTo>
                  <a:lnTo>
                    <a:pt x="147005" y="170378"/>
                  </a:lnTo>
                  <a:lnTo>
                    <a:pt x="146534" y="163493"/>
                  </a:lnTo>
                  <a:lnTo>
                    <a:pt x="151569" y="159422"/>
                  </a:lnTo>
                  <a:lnTo>
                    <a:pt x="163446" y="156826"/>
                  </a:lnTo>
                  <a:lnTo>
                    <a:pt x="154292" y="150215"/>
                  </a:lnTo>
                  <a:lnTo>
                    <a:pt x="151532" y="146757"/>
                  </a:lnTo>
                  <a:lnTo>
                    <a:pt x="153380" y="143810"/>
                  </a:lnTo>
                  <a:lnTo>
                    <a:pt x="155718" y="141609"/>
                  </a:lnTo>
                  <a:lnTo>
                    <a:pt x="157637" y="142574"/>
                  </a:lnTo>
                  <a:lnTo>
                    <a:pt x="158143" y="148929"/>
                  </a:lnTo>
                  <a:lnTo>
                    <a:pt x="159794" y="146608"/>
                  </a:lnTo>
                  <a:lnTo>
                    <a:pt x="163419" y="139671"/>
                  </a:lnTo>
                  <a:lnTo>
                    <a:pt x="164072" y="137132"/>
                  </a:lnTo>
                  <a:lnTo>
                    <a:pt x="165800" y="136051"/>
                  </a:lnTo>
                  <a:lnTo>
                    <a:pt x="169303" y="138083"/>
                  </a:lnTo>
                  <a:lnTo>
                    <a:pt x="171885" y="141869"/>
                  </a:lnTo>
                  <a:lnTo>
                    <a:pt x="170832" y="146145"/>
                  </a:lnTo>
                  <a:lnTo>
                    <a:pt x="173216" y="147187"/>
                  </a:lnTo>
                  <a:lnTo>
                    <a:pt x="175214" y="149065"/>
                  </a:lnTo>
                  <a:lnTo>
                    <a:pt x="176742" y="152013"/>
                  </a:lnTo>
                  <a:lnTo>
                    <a:pt x="177735" y="156362"/>
                  </a:lnTo>
                  <a:lnTo>
                    <a:pt x="176811" y="158118"/>
                  </a:lnTo>
                  <a:lnTo>
                    <a:pt x="176534" y="159013"/>
                  </a:lnTo>
                  <a:lnTo>
                    <a:pt x="179063" y="161277"/>
                  </a:lnTo>
                  <a:lnTo>
                    <a:pt x="176821" y="163386"/>
                  </a:lnTo>
                  <a:lnTo>
                    <a:pt x="172604" y="161193"/>
                  </a:lnTo>
                  <a:lnTo>
                    <a:pt x="170751" y="162978"/>
                  </a:lnTo>
                  <a:lnTo>
                    <a:pt x="169272" y="165669"/>
                  </a:lnTo>
                  <a:lnTo>
                    <a:pt x="167510" y="167698"/>
                  </a:lnTo>
                  <a:lnTo>
                    <a:pt x="165635" y="169110"/>
                  </a:lnTo>
                  <a:lnTo>
                    <a:pt x="166309" y="169974"/>
                  </a:lnTo>
                  <a:lnTo>
                    <a:pt x="168578" y="169295"/>
                  </a:lnTo>
                  <a:lnTo>
                    <a:pt x="172936" y="166948"/>
                  </a:lnTo>
                  <a:lnTo>
                    <a:pt x="172223" y="167919"/>
                  </a:lnTo>
                  <a:lnTo>
                    <a:pt x="170328" y="169644"/>
                  </a:lnTo>
                  <a:lnTo>
                    <a:pt x="170423" y="172499"/>
                  </a:lnTo>
                  <a:lnTo>
                    <a:pt x="176718" y="168518"/>
                  </a:lnTo>
                  <a:lnTo>
                    <a:pt x="178992" y="170028"/>
                  </a:lnTo>
                  <a:lnTo>
                    <a:pt x="179612" y="177390"/>
                  </a:lnTo>
                  <a:lnTo>
                    <a:pt x="181019" y="177343"/>
                  </a:lnTo>
                  <a:lnTo>
                    <a:pt x="181638" y="173390"/>
                  </a:lnTo>
                  <a:lnTo>
                    <a:pt x="182260" y="173137"/>
                  </a:lnTo>
                  <a:lnTo>
                    <a:pt x="183186" y="173665"/>
                  </a:lnTo>
                  <a:lnTo>
                    <a:pt x="184714" y="172029"/>
                  </a:lnTo>
                  <a:lnTo>
                    <a:pt x="185395" y="169722"/>
                  </a:lnTo>
                  <a:lnTo>
                    <a:pt x="185872" y="166831"/>
                  </a:lnTo>
                  <a:lnTo>
                    <a:pt x="186642" y="163759"/>
                  </a:lnTo>
                  <a:lnTo>
                    <a:pt x="188175" y="160972"/>
                  </a:lnTo>
                  <a:lnTo>
                    <a:pt x="188872" y="162224"/>
                  </a:lnTo>
                  <a:lnTo>
                    <a:pt x="189214" y="163455"/>
                  </a:lnTo>
                  <a:lnTo>
                    <a:pt x="189571" y="166396"/>
                  </a:lnTo>
                  <a:lnTo>
                    <a:pt x="191054" y="160035"/>
                  </a:lnTo>
                  <a:lnTo>
                    <a:pt x="193778" y="155544"/>
                  </a:lnTo>
                  <a:lnTo>
                    <a:pt x="197242" y="153140"/>
                  </a:lnTo>
                  <a:lnTo>
                    <a:pt x="200922" y="152966"/>
                  </a:lnTo>
                  <a:lnTo>
                    <a:pt x="198465" y="159658"/>
                  </a:lnTo>
                  <a:lnTo>
                    <a:pt x="185710" y="176145"/>
                  </a:lnTo>
                  <a:lnTo>
                    <a:pt x="184711" y="179069"/>
                  </a:lnTo>
                  <a:lnTo>
                    <a:pt x="185064" y="182181"/>
                  </a:lnTo>
                  <a:lnTo>
                    <a:pt x="186262" y="182763"/>
                  </a:lnTo>
                  <a:lnTo>
                    <a:pt x="187622" y="180883"/>
                  </a:lnTo>
                  <a:lnTo>
                    <a:pt x="189343" y="177065"/>
                  </a:lnTo>
                  <a:lnTo>
                    <a:pt x="190388" y="175910"/>
                  </a:lnTo>
                  <a:lnTo>
                    <a:pt x="192784" y="174027"/>
                  </a:lnTo>
                  <a:lnTo>
                    <a:pt x="195273" y="173909"/>
                  </a:lnTo>
                  <a:lnTo>
                    <a:pt x="196542" y="178015"/>
                  </a:lnTo>
                  <a:lnTo>
                    <a:pt x="196510" y="180147"/>
                  </a:lnTo>
                  <a:lnTo>
                    <a:pt x="196172" y="184089"/>
                  </a:lnTo>
                  <a:lnTo>
                    <a:pt x="195361" y="187956"/>
                  </a:lnTo>
                  <a:lnTo>
                    <a:pt x="193767" y="189720"/>
                  </a:lnTo>
                  <a:lnTo>
                    <a:pt x="179066" y="191845"/>
                  </a:lnTo>
                  <a:lnTo>
                    <a:pt x="176267" y="193149"/>
                  </a:lnTo>
                  <a:lnTo>
                    <a:pt x="180303" y="196949"/>
                  </a:lnTo>
                  <a:lnTo>
                    <a:pt x="189915" y="198989"/>
                  </a:lnTo>
                  <a:lnTo>
                    <a:pt x="194957" y="202704"/>
                  </a:lnTo>
                  <a:lnTo>
                    <a:pt x="186231" y="212401"/>
                  </a:lnTo>
                  <a:lnTo>
                    <a:pt x="184148" y="213762"/>
                  </a:lnTo>
                  <a:lnTo>
                    <a:pt x="183499" y="214637"/>
                  </a:lnTo>
                  <a:lnTo>
                    <a:pt x="183443" y="216598"/>
                  </a:lnTo>
                  <a:lnTo>
                    <a:pt x="183797" y="218809"/>
                  </a:lnTo>
                  <a:lnTo>
                    <a:pt x="184376" y="220390"/>
                  </a:lnTo>
                  <a:lnTo>
                    <a:pt x="185314" y="220965"/>
                  </a:lnTo>
                  <a:lnTo>
                    <a:pt x="186626" y="218916"/>
                  </a:lnTo>
                  <a:lnTo>
                    <a:pt x="187620" y="219085"/>
                  </a:lnTo>
                  <a:lnTo>
                    <a:pt x="189103" y="219998"/>
                  </a:lnTo>
                  <a:lnTo>
                    <a:pt x="191678" y="220331"/>
                  </a:lnTo>
                  <a:lnTo>
                    <a:pt x="192870" y="221270"/>
                  </a:lnTo>
                  <a:lnTo>
                    <a:pt x="185554" y="229039"/>
                  </a:lnTo>
                  <a:lnTo>
                    <a:pt x="182163" y="230674"/>
                  </a:lnTo>
                  <a:lnTo>
                    <a:pt x="178935" y="229801"/>
                  </a:lnTo>
                  <a:lnTo>
                    <a:pt x="176874" y="224819"/>
                  </a:lnTo>
                  <a:lnTo>
                    <a:pt x="175214" y="222090"/>
                  </a:lnTo>
                  <a:lnTo>
                    <a:pt x="173370" y="221917"/>
                  </a:lnTo>
                  <a:lnTo>
                    <a:pt x="172208" y="224099"/>
                  </a:lnTo>
                  <a:lnTo>
                    <a:pt x="172481" y="226515"/>
                  </a:lnTo>
                  <a:lnTo>
                    <a:pt x="173610" y="228623"/>
                  </a:lnTo>
                  <a:lnTo>
                    <a:pt x="175052" y="229929"/>
                  </a:lnTo>
                  <a:lnTo>
                    <a:pt x="175132" y="232304"/>
                  </a:lnTo>
                  <a:lnTo>
                    <a:pt x="173277" y="232303"/>
                  </a:lnTo>
                  <a:lnTo>
                    <a:pt x="171714" y="232927"/>
                  </a:lnTo>
                  <a:lnTo>
                    <a:pt x="168726" y="235122"/>
                  </a:lnTo>
                  <a:lnTo>
                    <a:pt x="168804" y="237482"/>
                  </a:lnTo>
                  <a:lnTo>
                    <a:pt x="176465" y="237234"/>
                  </a:lnTo>
                  <a:lnTo>
                    <a:pt x="175316" y="239851"/>
                  </a:lnTo>
                  <a:lnTo>
                    <a:pt x="174385" y="242539"/>
                  </a:lnTo>
                  <a:lnTo>
                    <a:pt x="172944" y="248010"/>
                  </a:lnTo>
                  <a:lnTo>
                    <a:pt x="176270" y="242711"/>
                  </a:lnTo>
                  <a:lnTo>
                    <a:pt x="178087" y="240849"/>
                  </a:lnTo>
                  <a:lnTo>
                    <a:pt x="180578" y="239958"/>
                  </a:lnTo>
                  <a:lnTo>
                    <a:pt x="175429" y="252902"/>
                  </a:lnTo>
                  <a:lnTo>
                    <a:pt x="174598" y="258618"/>
                  </a:lnTo>
                  <a:lnTo>
                    <a:pt x="177513" y="254109"/>
                  </a:lnTo>
                  <a:lnTo>
                    <a:pt x="181512" y="252190"/>
                  </a:lnTo>
                  <a:lnTo>
                    <a:pt x="183704" y="254029"/>
                  </a:lnTo>
                  <a:lnTo>
                    <a:pt x="181285" y="260777"/>
                  </a:lnTo>
                  <a:lnTo>
                    <a:pt x="187957" y="266011"/>
                  </a:lnTo>
                  <a:lnTo>
                    <a:pt x="188039" y="268386"/>
                  </a:lnTo>
                  <a:lnTo>
                    <a:pt x="182720" y="268563"/>
                  </a:lnTo>
                  <a:lnTo>
                    <a:pt x="182817" y="271404"/>
                  </a:lnTo>
                  <a:lnTo>
                    <a:pt x="184234" y="271357"/>
                  </a:lnTo>
                  <a:lnTo>
                    <a:pt x="184323" y="273965"/>
                  </a:lnTo>
                  <a:lnTo>
                    <a:pt x="181087" y="271834"/>
                  </a:lnTo>
                  <a:lnTo>
                    <a:pt x="179230" y="273792"/>
                  </a:lnTo>
                  <a:lnTo>
                    <a:pt x="177305" y="276497"/>
                  </a:lnTo>
                  <a:lnTo>
                    <a:pt x="173899" y="276685"/>
                  </a:lnTo>
                  <a:lnTo>
                    <a:pt x="176714" y="279437"/>
                  </a:lnTo>
                  <a:lnTo>
                    <a:pt x="175929" y="282634"/>
                  </a:lnTo>
                  <a:lnTo>
                    <a:pt x="174980" y="284436"/>
                  </a:lnTo>
                  <a:lnTo>
                    <a:pt x="173592" y="285166"/>
                  </a:lnTo>
                  <a:lnTo>
                    <a:pt x="171555" y="285059"/>
                  </a:lnTo>
                  <a:lnTo>
                    <a:pt x="171633" y="287404"/>
                  </a:lnTo>
                  <a:lnTo>
                    <a:pt x="173150" y="287759"/>
                  </a:lnTo>
                  <a:lnTo>
                    <a:pt x="177063" y="289840"/>
                  </a:lnTo>
                  <a:lnTo>
                    <a:pt x="173949" y="294261"/>
                  </a:lnTo>
                  <a:lnTo>
                    <a:pt x="175910" y="299266"/>
                  </a:lnTo>
                  <a:lnTo>
                    <a:pt x="179548" y="302784"/>
                  </a:lnTo>
                  <a:lnTo>
                    <a:pt x="181404" y="302738"/>
                  </a:lnTo>
                  <a:lnTo>
                    <a:pt x="180563" y="308221"/>
                  </a:lnTo>
                  <a:lnTo>
                    <a:pt x="177780" y="311250"/>
                  </a:lnTo>
                  <a:lnTo>
                    <a:pt x="174260" y="312032"/>
                  </a:lnTo>
                  <a:lnTo>
                    <a:pt x="171229" y="310901"/>
                  </a:lnTo>
                  <a:lnTo>
                    <a:pt x="172223" y="316045"/>
                  </a:lnTo>
                  <a:lnTo>
                    <a:pt x="176878" y="326853"/>
                  </a:lnTo>
                  <a:lnTo>
                    <a:pt x="175371" y="331145"/>
                  </a:lnTo>
                  <a:lnTo>
                    <a:pt x="172579" y="331048"/>
                  </a:lnTo>
                  <a:lnTo>
                    <a:pt x="166425" y="327187"/>
                  </a:lnTo>
                  <a:lnTo>
                    <a:pt x="167507" y="335033"/>
                  </a:lnTo>
                  <a:lnTo>
                    <a:pt x="167341" y="343105"/>
                  </a:lnTo>
                  <a:lnTo>
                    <a:pt x="165978" y="350329"/>
                  </a:lnTo>
                  <a:lnTo>
                    <a:pt x="163437" y="355725"/>
                  </a:lnTo>
                  <a:lnTo>
                    <a:pt x="162591" y="353932"/>
                  </a:lnTo>
                  <a:lnTo>
                    <a:pt x="162044" y="353157"/>
                  </a:lnTo>
                  <a:lnTo>
                    <a:pt x="163715" y="357566"/>
                  </a:lnTo>
                  <a:lnTo>
                    <a:pt x="164459" y="361754"/>
                  </a:lnTo>
                  <a:lnTo>
                    <a:pt x="164118" y="366195"/>
                  </a:lnTo>
                  <a:lnTo>
                    <a:pt x="162630" y="371402"/>
                  </a:lnTo>
                  <a:lnTo>
                    <a:pt x="164794" y="374070"/>
                  </a:lnTo>
                  <a:lnTo>
                    <a:pt x="165430" y="377298"/>
                  </a:lnTo>
                  <a:lnTo>
                    <a:pt x="164750" y="380210"/>
                  </a:lnTo>
                  <a:lnTo>
                    <a:pt x="162972" y="382038"/>
                  </a:lnTo>
                  <a:lnTo>
                    <a:pt x="162170" y="380183"/>
                  </a:lnTo>
                  <a:lnTo>
                    <a:pt x="158794" y="374350"/>
                  </a:lnTo>
                  <a:lnTo>
                    <a:pt x="157413" y="378340"/>
                  </a:lnTo>
                  <a:lnTo>
                    <a:pt x="155821" y="377923"/>
                  </a:lnTo>
                  <a:lnTo>
                    <a:pt x="155394" y="375045"/>
                  </a:lnTo>
                  <a:lnTo>
                    <a:pt x="157479" y="371562"/>
                  </a:lnTo>
                  <a:lnTo>
                    <a:pt x="157396" y="368954"/>
                  </a:lnTo>
                  <a:lnTo>
                    <a:pt x="154424" y="366340"/>
                  </a:lnTo>
                  <a:lnTo>
                    <a:pt x="148449" y="368045"/>
                  </a:lnTo>
                  <a:lnTo>
                    <a:pt x="145308" y="366491"/>
                  </a:lnTo>
                  <a:lnTo>
                    <a:pt x="142870" y="361854"/>
                  </a:lnTo>
                  <a:lnTo>
                    <a:pt x="146157" y="356814"/>
                  </a:lnTo>
                  <a:lnTo>
                    <a:pt x="144825" y="350839"/>
                  </a:lnTo>
                  <a:lnTo>
                    <a:pt x="146319" y="347686"/>
                  </a:lnTo>
                  <a:lnTo>
                    <a:pt x="148146" y="345750"/>
                  </a:lnTo>
                  <a:lnTo>
                    <a:pt x="150244" y="345020"/>
                  </a:lnTo>
                  <a:lnTo>
                    <a:pt x="152516" y="345385"/>
                  </a:lnTo>
                  <a:lnTo>
                    <a:pt x="152449" y="343242"/>
                  </a:lnTo>
                  <a:lnTo>
                    <a:pt x="148859" y="339093"/>
                  </a:lnTo>
                  <a:lnTo>
                    <a:pt x="147163" y="337947"/>
                  </a:lnTo>
                  <a:lnTo>
                    <a:pt x="147083" y="335354"/>
                  </a:lnTo>
                  <a:lnTo>
                    <a:pt x="152196" y="335199"/>
                  </a:lnTo>
                  <a:lnTo>
                    <a:pt x="150886" y="328432"/>
                  </a:lnTo>
                  <a:lnTo>
                    <a:pt x="152743" y="322407"/>
                  </a:lnTo>
                  <a:lnTo>
                    <a:pt x="155431" y="315874"/>
                  </a:lnTo>
                  <a:lnTo>
                    <a:pt x="157748" y="297618"/>
                  </a:lnTo>
                  <a:lnTo>
                    <a:pt x="160302" y="290064"/>
                  </a:lnTo>
                  <a:lnTo>
                    <a:pt x="162049" y="282424"/>
                  </a:lnTo>
                  <a:lnTo>
                    <a:pt x="160739" y="272115"/>
                  </a:lnTo>
                  <a:lnTo>
                    <a:pt x="159675" y="270609"/>
                  </a:lnTo>
                  <a:lnTo>
                    <a:pt x="158565" y="271064"/>
                  </a:lnTo>
                  <a:lnTo>
                    <a:pt x="157494" y="270771"/>
                  </a:lnTo>
                  <a:lnTo>
                    <a:pt x="156545" y="267024"/>
                  </a:lnTo>
                  <a:lnTo>
                    <a:pt x="156638" y="265575"/>
                  </a:lnTo>
                  <a:lnTo>
                    <a:pt x="157126" y="263649"/>
                  </a:lnTo>
                  <a:lnTo>
                    <a:pt x="159895" y="255606"/>
                  </a:lnTo>
                  <a:lnTo>
                    <a:pt x="157966" y="255790"/>
                  </a:lnTo>
                  <a:lnTo>
                    <a:pt x="155271" y="257957"/>
                  </a:lnTo>
                  <a:lnTo>
                    <a:pt x="154530" y="259253"/>
                  </a:lnTo>
                  <a:lnTo>
                    <a:pt x="152425" y="259038"/>
                  </a:lnTo>
                  <a:lnTo>
                    <a:pt x="151771" y="257692"/>
                  </a:lnTo>
                  <a:lnTo>
                    <a:pt x="152257" y="254475"/>
                  </a:lnTo>
                  <a:lnTo>
                    <a:pt x="154720" y="244328"/>
                  </a:lnTo>
                  <a:lnTo>
                    <a:pt x="156098" y="240509"/>
                  </a:lnTo>
                  <a:lnTo>
                    <a:pt x="157724" y="237428"/>
                  </a:lnTo>
                  <a:lnTo>
                    <a:pt x="159552" y="235412"/>
                  </a:lnTo>
                  <a:lnTo>
                    <a:pt x="159468" y="232804"/>
                  </a:lnTo>
                  <a:lnTo>
                    <a:pt x="155810" y="232499"/>
                  </a:lnTo>
                  <a:lnTo>
                    <a:pt x="153159" y="236590"/>
                  </a:lnTo>
                  <a:lnTo>
                    <a:pt x="148285" y="248784"/>
                  </a:lnTo>
                  <a:lnTo>
                    <a:pt x="145396" y="239998"/>
                  </a:lnTo>
                  <a:lnTo>
                    <a:pt x="142416" y="233654"/>
                  </a:lnTo>
                  <a:lnTo>
                    <a:pt x="138325" y="229783"/>
                  </a:lnTo>
                  <a:lnTo>
                    <a:pt x="132103" y="228412"/>
                  </a:lnTo>
                  <a:lnTo>
                    <a:pt x="132189" y="231253"/>
                  </a:lnTo>
                  <a:lnTo>
                    <a:pt x="135905" y="233009"/>
                  </a:lnTo>
                  <a:lnTo>
                    <a:pt x="138993" y="236197"/>
                  </a:lnTo>
                  <a:lnTo>
                    <a:pt x="141721" y="240684"/>
                  </a:lnTo>
                  <a:lnTo>
                    <a:pt x="144316" y="246294"/>
                  </a:lnTo>
                  <a:lnTo>
                    <a:pt x="143187" y="251799"/>
                  </a:lnTo>
                  <a:lnTo>
                    <a:pt x="139354" y="247965"/>
                  </a:lnTo>
                  <a:lnTo>
                    <a:pt x="137559" y="246682"/>
                  </a:lnTo>
                  <a:lnTo>
                    <a:pt x="135127" y="246568"/>
                  </a:lnTo>
                  <a:lnTo>
                    <a:pt x="135440" y="253582"/>
                  </a:lnTo>
                  <a:lnTo>
                    <a:pt x="134255" y="258652"/>
                  </a:lnTo>
                  <a:lnTo>
                    <a:pt x="132567" y="259666"/>
                  </a:lnTo>
                  <a:lnTo>
                    <a:pt x="131451" y="254491"/>
                  </a:lnTo>
                  <a:lnTo>
                    <a:pt x="129219" y="256747"/>
                  </a:lnTo>
                  <a:lnTo>
                    <a:pt x="128549" y="260745"/>
                  </a:lnTo>
                  <a:lnTo>
                    <a:pt x="128140" y="264984"/>
                  </a:lnTo>
                  <a:lnTo>
                    <a:pt x="126663" y="267917"/>
                  </a:lnTo>
                  <a:lnTo>
                    <a:pt x="124855" y="267829"/>
                  </a:lnTo>
                  <a:lnTo>
                    <a:pt x="117308" y="262728"/>
                  </a:lnTo>
                  <a:lnTo>
                    <a:pt x="116883" y="261947"/>
                  </a:lnTo>
                  <a:lnTo>
                    <a:pt x="112655" y="257357"/>
                  </a:lnTo>
                  <a:lnTo>
                    <a:pt x="112083" y="257668"/>
                  </a:lnTo>
                  <a:lnTo>
                    <a:pt x="110792" y="254192"/>
                  </a:lnTo>
                  <a:lnTo>
                    <a:pt x="110842" y="252419"/>
                  </a:lnTo>
                  <a:lnTo>
                    <a:pt x="111860" y="249843"/>
                  </a:lnTo>
                  <a:lnTo>
                    <a:pt x="113977" y="247609"/>
                  </a:lnTo>
                  <a:lnTo>
                    <a:pt x="119652" y="245895"/>
                  </a:lnTo>
                  <a:lnTo>
                    <a:pt x="122081" y="244598"/>
                  </a:lnTo>
                  <a:lnTo>
                    <a:pt x="119591" y="242758"/>
                  </a:lnTo>
                  <a:lnTo>
                    <a:pt x="114723" y="234829"/>
                  </a:lnTo>
                  <a:lnTo>
                    <a:pt x="113993" y="237927"/>
                  </a:lnTo>
                  <a:lnTo>
                    <a:pt x="113123" y="243157"/>
                  </a:lnTo>
                  <a:lnTo>
                    <a:pt x="110998" y="246774"/>
                  </a:lnTo>
                  <a:lnTo>
                    <a:pt x="108788" y="247379"/>
                  </a:lnTo>
                  <a:lnTo>
                    <a:pt x="107660" y="243588"/>
                  </a:lnTo>
                  <a:lnTo>
                    <a:pt x="106407" y="240265"/>
                  </a:lnTo>
                  <a:lnTo>
                    <a:pt x="103696" y="241209"/>
                  </a:lnTo>
                  <a:lnTo>
                    <a:pt x="98040" y="245260"/>
                  </a:lnTo>
                  <a:lnTo>
                    <a:pt x="93851" y="245947"/>
                  </a:lnTo>
                  <a:lnTo>
                    <a:pt x="92028" y="245419"/>
                  </a:lnTo>
                  <a:lnTo>
                    <a:pt x="90931" y="244049"/>
                  </a:lnTo>
                  <a:lnTo>
                    <a:pt x="90702" y="242144"/>
                  </a:lnTo>
                  <a:lnTo>
                    <a:pt x="90348" y="240475"/>
                  </a:lnTo>
                  <a:lnTo>
                    <a:pt x="88799" y="239802"/>
                  </a:lnTo>
                  <a:lnTo>
                    <a:pt x="84904" y="239249"/>
                  </a:lnTo>
                  <a:lnTo>
                    <a:pt x="83240" y="237116"/>
                  </a:lnTo>
                  <a:lnTo>
                    <a:pt x="81157" y="227193"/>
                  </a:lnTo>
                  <a:lnTo>
                    <a:pt x="78911" y="219824"/>
                  </a:lnTo>
                  <a:lnTo>
                    <a:pt x="79571" y="217601"/>
                  </a:lnTo>
                  <a:lnTo>
                    <a:pt x="82235" y="214146"/>
                  </a:lnTo>
                  <a:lnTo>
                    <a:pt x="84914" y="211622"/>
                  </a:lnTo>
                  <a:lnTo>
                    <a:pt x="88391" y="209528"/>
                  </a:lnTo>
                  <a:lnTo>
                    <a:pt x="92029" y="208330"/>
                  </a:lnTo>
                  <a:lnTo>
                    <a:pt x="95151" y="208590"/>
                  </a:lnTo>
                  <a:lnTo>
                    <a:pt x="97993" y="210969"/>
                  </a:lnTo>
                  <a:lnTo>
                    <a:pt x="100177" y="214080"/>
                  </a:lnTo>
                  <a:lnTo>
                    <a:pt x="102500" y="216332"/>
                  </a:lnTo>
                  <a:lnTo>
                    <a:pt x="105697" y="216138"/>
                  </a:lnTo>
                  <a:lnTo>
                    <a:pt x="104148" y="210959"/>
                  </a:lnTo>
                  <a:lnTo>
                    <a:pt x="110819" y="213387"/>
                  </a:lnTo>
                  <a:lnTo>
                    <a:pt x="110745" y="210778"/>
                  </a:lnTo>
                  <a:lnTo>
                    <a:pt x="109334" y="210817"/>
                  </a:lnTo>
                  <a:lnTo>
                    <a:pt x="109260" y="208209"/>
                  </a:lnTo>
                  <a:lnTo>
                    <a:pt x="118126" y="206810"/>
                  </a:lnTo>
                  <a:lnTo>
                    <a:pt x="120835" y="209764"/>
                  </a:lnTo>
                  <a:lnTo>
                    <a:pt x="121392" y="221139"/>
                  </a:lnTo>
                  <a:lnTo>
                    <a:pt x="122330" y="220723"/>
                  </a:lnTo>
                  <a:lnTo>
                    <a:pt x="124413" y="219125"/>
                  </a:lnTo>
                  <a:lnTo>
                    <a:pt x="125188" y="218170"/>
                  </a:lnTo>
                  <a:lnTo>
                    <a:pt x="124184" y="216087"/>
                  </a:lnTo>
                  <a:lnTo>
                    <a:pt x="123016" y="212079"/>
                  </a:lnTo>
                  <a:lnTo>
                    <a:pt x="122375" y="210451"/>
                  </a:lnTo>
                  <a:lnTo>
                    <a:pt x="126266" y="210339"/>
                  </a:lnTo>
                  <a:lnTo>
                    <a:pt x="125696" y="208802"/>
                  </a:lnTo>
                  <a:lnTo>
                    <a:pt x="124794" y="204911"/>
                  </a:lnTo>
                  <a:lnTo>
                    <a:pt x="129126" y="202812"/>
                  </a:lnTo>
                  <a:lnTo>
                    <a:pt x="134174" y="204296"/>
                  </a:lnTo>
                  <a:lnTo>
                    <a:pt x="138514" y="209295"/>
                  </a:lnTo>
                  <a:lnTo>
                    <a:pt x="140718" y="217714"/>
                  </a:lnTo>
                  <a:lnTo>
                    <a:pt x="143233" y="213226"/>
                  </a:lnTo>
                  <a:lnTo>
                    <a:pt x="145763" y="209762"/>
                  </a:lnTo>
                  <a:lnTo>
                    <a:pt x="140308" y="204456"/>
                  </a:lnTo>
                  <a:lnTo>
                    <a:pt x="143873" y="194170"/>
                  </a:lnTo>
                  <a:lnTo>
                    <a:pt x="145231" y="195714"/>
                  </a:lnTo>
                  <a:lnTo>
                    <a:pt x="146434" y="196222"/>
                  </a:lnTo>
                  <a:lnTo>
                    <a:pt x="149236" y="196384"/>
                  </a:lnTo>
                  <a:lnTo>
                    <a:pt x="146721" y="192141"/>
                  </a:lnTo>
                  <a:lnTo>
                    <a:pt x="150076" y="190826"/>
                  </a:lnTo>
                  <a:lnTo>
                    <a:pt x="159505" y="190844"/>
                  </a:lnTo>
                  <a:lnTo>
                    <a:pt x="154876" y="187757"/>
                  </a:lnTo>
                  <a:lnTo>
                    <a:pt x="149251" y="186656"/>
                  </a:lnTo>
                  <a:lnTo>
                    <a:pt x="144675" y="183889"/>
                  </a:lnTo>
                  <a:lnTo>
                    <a:pt x="143296" y="175712"/>
                  </a:lnTo>
                  <a:lnTo>
                    <a:pt x="139833" y="180120"/>
                  </a:lnTo>
                  <a:lnTo>
                    <a:pt x="137822" y="181564"/>
                  </a:lnTo>
                  <a:lnTo>
                    <a:pt x="135723" y="181128"/>
                  </a:lnTo>
                  <a:lnTo>
                    <a:pt x="133636" y="178299"/>
                  </a:lnTo>
                  <a:lnTo>
                    <a:pt x="132848" y="174640"/>
                  </a:lnTo>
                  <a:lnTo>
                    <a:pt x="133367" y="170974"/>
                  </a:lnTo>
                  <a:lnTo>
                    <a:pt x="135325" y="168119"/>
                  </a:lnTo>
                  <a:lnTo>
                    <a:pt x="135245" y="165511"/>
                  </a:lnTo>
                  <a:lnTo>
                    <a:pt x="129357" y="165745"/>
                  </a:lnTo>
                  <a:lnTo>
                    <a:pt x="126791" y="165028"/>
                  </a:lnTo>
                  <a:lnTo>
                    <a:pt x="124854" y="162955"/>
                  </a:lnTo>
                  <a:lnTo>
                    <a:pt x="125235" y="158220"/>
                  </a:lnTo>
                  <a:lnTo>
                    <a:pt x="124693" y="151617"/>
                  </a:lnTo>
                  <a:lnTo>
                    <a:pt x="122852" y="139550"/>
                  </a:lnTo>
                  <a:lnTo>
                    <a:pt x="120542" y="147044"/>
                  </a:lnTo>
                  <a:lnTo>
                    <a:pt x="118690" y="151136"/>
                  </a:lnTo>
                  <a:lnTo>
                    <a:pt x="116811" y="153007"/>
                  </a:lnTo>
                  <a:lnTo>
                    <a:pt x="113849" y="151786"/>
                  </a:lnTo>
                  <a:lnTo>
                    <a:pt x="113099" y="148683"/>
                  </a:lnTo>
                  <a:lnTo>
                    <a:pt x="114131" y="145065"/>
                  </a:lnTo>
                  <a:lnTo>
                    <a:pt x="116499" y="142342"/>
                  </a:lnTo>
                  <a:lnTo>
                    <a:pt x="112707" y="142541"/>
                  </a:lnTo>
                  <a:lnTo>
                    <a:pt x="109623" y="143606"/>
                  </a:lnTo>
                  <a:lnTo>
                    <a:pt x="106728" y="143500"/>
                  </a:lnTo>
                  <a:lnTo>
                    <a:pt x="103555" y="140091"/>
                  </a:lnTo>
                  <a:lnTo>
                    <a:pt x="101970" y="144562"/>
                  </a:lnTo>
                  <a:lnTo>
                    <a:pt x="99275" y="146127"/>
                  </a:lnTo>
                  <a:lnTo>
                    <a:pt x="92729" y="145835"/>
                  </a:lnTo>
                  <a:lnTo>
                    <a:pt x="92167" y="143799"/>
                  </a:lnTo>
                  <a:lnTo>
                    <a:pt x="93027" y="139318"/>
                  </a:lnTo>
                  <a:lnTo>
                    <a:pt x="94605" y="134785"/>
                  </a:lnTo>
                  <a:lnTo>
                    <a:pt x="96234" y="132707"/>
                  </a:lnTo>
                  <a:lnTo>
                    <a:pt x="100891" y="133125"/>
                  </a:lnTo>
                  <a:lnTo>
                    <a:pt x="101948" y="132553"/>
                  </a:lnTo>
                  <a:lnTo>
                    <a:pt x="102838" y="129888"/>
                  </a:lnTo>
                  <a:lnTo>
                    <a:pt x="102852" y="127091"/>
                  </a:lnTo>
                  <a:lnTo>
                    <a:pt x="102684" y="124407"/>
                  </a:lnTo>
                  <a:lnTo>
                    <a:pt x="103049" y="122113"/>
                  </a:lnTo>
                  <a:lnTo>
                    <a:pt x="104766" y="118400"/>
                  </a:lnTo>
                  <a:lnTo>
                    <a:pt x="106891" y="115342"/>
                  </a:lnTo>
                  <a:lnTo>
                    <a:pt x="109321" y="114902"/>
                  </a:lnTo>
                  <a:lnTo>
                    <a:pt x="111966" y="119023"/>
                  </a:lnTo>
                  <a:lnTo>
                    <a:pt x="114525" y="126969"/>
                  </a:lnTo>
                  <a:lnTo>
                    <a:pt x="120948" y="133265"/>
                  </a:lnTo>
                  <a:lnTo>
                    <a:pt x="128102" y="135608"/>
                  </a:lnTo>
                  <a:lnTo>
                    <a:pt x="134207" y="131636"/>
                  </a:lnTo>
                  <a:lnTo>
                    <a:pt x="132025" y="129960"/>
                  </a:lnTo>
                  <a:lnTo>
                    <a:pt x="129184" y="129297"/>
                  </a:lnTo>
                  <a:lnTo>
                    <a:pt x="124433" y="129312"/>
                  </a:lnTo>
                  <a:lnTo>
                    <a:pt x="123030" y="127985"/>
                  </a:lnTo>
                  <a:lnTo>
                    <a:pt x="121289" y="125114"/>
                  </a:lnTo>
                  <a:lnTo>
                    <a:pt x="118972" y="122414"/>
                  </a:lnTo>
                  <a:lnTo>
                    <a:pt x="115897" y="121756"/>
                  </a:lnTo>
                  <a:lnTo>
                    <a:pt x="117417" y="119009"/>
                  </a:lnTo>
                  <a:lnTo>
                    <a:pt x="119776" y="112292"/>
                  </a:lnTo>
                  <a:lnTo>
                    <a:pt x="120716" y="110944"/>
                  </a:lnTo>
                  <a:lnTo>
                    <a:pt x="122794" y="110325"/>
                  </a:lnTo>
                  <a:lnTo>
                    <a:pt x="128394" y="105734"/>
                  </a:lnTo>
                  <a:lnTo>
                    <a:pt x="126387" y="103587"/>
                  </a:lnTo>
                  <a:lnTo>
                    <a:pt x="125634" y="102971"/>
                  </a:lnTo>
                  <a:lnTo>
                    <a:pt x="127217" y="100175"/>
                  </a:lnTo>
                  <a:lnTo>
                    <a:pt x="127619" y="98299"/>
                  </a:lnTo>
                  <a:lnTo>
                    <a:pt x="127276" y="96817"/>
                  </a:lnTo>
                  <a:lnTo>
                    <a:pt x="126652" y="95127"/>
                  </a:lnTo>
                  <a:lnTo>
                    <a:pt x="131186" y="92694"/>
                  </a:lnTo>
                  <a:lnTo>
                    <a:pt x="136333" y="93333"/>
                  </a:lnTo>
                  <a:lnTo>
                    <a:pt x="141509" y="96083"/>
                  </a:lnTo>
                  <a:lnTo>
                    <a:pt x="146182" y="99980"/>
                  </a:lnTo>
                  <a:lnTo>
                    <a:pt x="146703" y="98349"/>
                  </a:lnTo>
                  <a:lnTo>
                    <a:pt x="147375" y="97116"/>
                  </a:lnTo>
                  <a:lnTo>
                    <a:pt x="143982" y="93521"/>
                  </a:lnTo>
                  <a:lnTo>
                    <a:pt x="144272" y="89629"/>
                  </a:lnTo>
                  <a:close/>
                  <a:moveTo>
                    <a:pt x="188513" y="44580"/>
                  </a:moveTo>
                  <a:lnTo>
                    <a:pt x="190756" y="51139"/>
                  </a:lnTo>
                  <a:lnTo>
                    <a:pt x="192760" y="46657"/>
                  </a:lnTo>
                  <a:lnTo>
                    <a:pt x="196569" y="45220"/>
                  </a:lnTo>
                  <a:lnTo>
                    <a:pt x="204727" y="45694"/>
                  </a:lnTo>
                  <a:lnTo>
                    <a:pt x="204976" y="50814"/>
                  </a:lnTo>
                  <a:lnTo>
                    <a:pt x="204737" y="52393"/>
                  </a:lnTo>
                  <a:lnTo>
                    <a:pt x="203618" y="53286"/>
                  </a:lnTo>
                  <a:lnTo>
                    <a:pt x="203722" y="56126"/>
                  </a:lnTo>
                  <a:lnTo>
                    <a:pt x="204664" y="56652"/>
                  </a:lnTo>
                  <a:lnTo>
                    <a:pt x="205519" y="57741"/>
                  </a:lnTo>
                  <a:lnTo>
                    <a:pt x="206374" y="58410"/>
                  </a:lnTo>
                  <a:lnTo>
                    <a:pt x="204525" y="63091"/>
                  </a:lnTo>
                  <a:lnTo>
                    <a:pt x="204825" y="66717"/>
                  </a:lnTo>
                  <a:lnTo>
                    <a:pt x="208343" y="74005"/>
                  </a:lnTo>
                  <a:lnTo>
                    <a:pt x="207374" y="78158"/>
                  </a:lnTo>
                  <a:lnTo>
                    <a:pt x="206060" y="82121"/>
                  </a:lnTo>
                  <a:lnTo>
                    <a:pt x="199729" y="75148"/>
                  </a:lnTo>
                  <a:lnTo>
                    <a:pt x="196499" y="72556"/>
                  </a:lnTo>
                  <a:lnTo>
                    <a:pt x="192783" y="72172"/>
                  </a:lnTo>
                  <a:lnTo>
                    <a:pt x="195094" y="74889"/>
                  </a:lnTo>
                  <a:lnTo>
                    <a:pt x="197845" y="79642"/>
                  </a:lnTo>
                  <a:lnTo>
                    <a:pt x="202515" y="90079"/>
                  </a:lnTo>
                  <a:lnTo>
                    <a:pt x="200111" y="92090"/>
                  </a:lnTo>
                  <a:lnTo>
                    <a:pt x="197529" y="92987"/>
                  </a:lnTo>
                  <a:lnTo>
                    <a:pt x="194829" y="92521"/>
                  </a:lnTo>
                  <a:lnTo>
                    <a:pt x="192149" y="90438"/>
                  </a:lnTo>
                  <a:lnTo>
                    <a:pt x="193215" y="94628"/>
                  </a:lnTo>
                  <a:lnTo>
                    <a:pt x="195593" y="97002"/>
                  </a:lnTo>
                  <a:lnTo>
                    <a:pt x="198581" y="98018"/>
                  </a:lnTo>
                  <a:lnTo>
                    <a:pt x="201523" y="98163"/>
                  </a:lnTo>
                  <a:lnTo>
                    <a:pt x="201202" y="99449"/>
                  </a:lnTo>
                  <a:lnTo>
                    <a:pt x="201169" y="99792"/>
                  </a:lnTo>
                  <a:lnTo>
                    <a:pt x="200211" y="100586"/>
                  </a:lnTo>
                  <a:lnTo>
                    <a:pt x="203567" y="104339"/>
                  </a:lnTo>
                  <a:lnTo>
                    <a:pt x="203797" y="108993"/>
                  </a:lnTo>
                  <a:lnTo>
                    <a:pt x="201716" y="112828"/>
                  </a:lnTo>
                  <a:lnTo>
                    <a:pt x="198120" y="113946"/>
                  </a:lnTo>
                  <a:lnTo>
                    <a:pt x="201155" y="120415"/>
                  </a:lnTo>
                  <a:lnTo>
                    <a:pt x="202123" y="123661"/>
                  </a:lnTo>
                  <a:lnTo>
                    <a:pt x="202606" y="128120"/>
                  </a:lnTo>
                  <a:lnTo>
                    <a:pt x="202204" y="132920"/>
                  </a:lnTo>
                  <a:lnTo>
                    <a:pt x="200742" y="133857"/>
                  </a:lnTo>
                  <a:lnTo>
                    <a:pt x="196199" y="132041"/>
                  </a:lnTo>
                  <a:lnTo>
                    <a:pt x="191582" y="132447"/>
                  </a:lnTo>
                  <a:lnTo>
                    <a:pt x="189296" y="131562"/>
                  </a:lnTo>
                  <a:lnTo>
                    <a:pt x="188250" y="128614"/>
                  </a:lnTo>
                  <a:lnTo>
                    <a:pt x="187567" y="128823"/>
                  </a:lnTo>
                  <a:lnTo>
                    <a:pt x="186517" y="130381"/>
                  </a:lnTo>
                  <a:lnTo>
                    <a:pt x="186375" y="132671"/>
                  </a:lnTo>
                  <a:lnTo>
                    <a:pt x="188478" y="135133"/>
                  </a:lnTo>
                  <a:lnTo>
                    <a:pt x="188560" y="137492"/>
                  </a:lnTo>
                  <a:lnTo>
                    <a:pt x="182205" y="136260"/>
                  </a:lnTo>
                  <a:lnTo>
                    <a:pt x="177646" y="131703"/>
                  </a:lnTo>
                  <a:lnTo>
                    <a:pt x="174741" y="123360"/>
                  </a:lnTo>
                  <a:lnTo>
                    <a:pt x="171225" y="87502"/>
                  </a:lnTo>
                  <a:lnTo>
                    <a:pt x="172575" y="79316"/>
                  </a:lnTo>
                  <a:lnTo>
                    <a:pt x="178778" y="77867"/>
                  </a:lnTo>
                  <a:lnTo>
                    <a:pt x="178859" y="80227"/>
                  </a:lnTo>
                  <a:lnTo>
                    <a:pt x="178458" y="84777"/>
                  </a:lnTo>
                  <a:lnTo>
                    <a:pt x="180659" y="89226"/>
                  </a:lnTo>
                  <a:lnTo>
                    <a:pt x="183681" y="91751"/>
                  </a:lnTo>
                  <a:lnTo>
                    <a:pt x="185721" y="90657"/>
                  </a:lnTo>
                  <a:lnTo>
                    <a:pt x="185072" y="88907"/>
                  </a:lnTo>
                  <a:lnTo>
                    <a:pt x="182090" y="78921"/>
                  </a:lnTo>
                  <a:lnTo>
                    <a:pt x="181315" y="73742"/>
                  </a:lnTo>
                  <a:lnTo>
                    <a:pt x="181754" y="71210"/>
                  </a:lnTo>
                  <a:lnTo>
                    <a:pt x="183334" y="65532"/>
                  </a:lnTo>
                  <a:lnTo>
                    <a:pt x="182839" y="64445"/>
                  </a:lnTo>
                  <a:lnTo>
                    <a:pt x="181736" y="63006"/>
                  </a:lnTo>
                  <a:lnTo>
                    <a:pt x="181449" y="59566"/>
                  </a:lnTo>
                  <a:lnTo>
                    <a:pt x="181762" y="55624"/>
                  </a:lnTo>
                  <a:lnTo>
                    <a:pt x="182431" y="52727"/>
                  </a:lnTo>
                  <a:lnTo>
                    <a:pt x="184141" y="48458"/>
                  </a:lnTo>
                  <a:lnTo>
                    <a:pt x="186234" y="44736"/>
                  </a:lnTo>
                  <a:close/>
                  <a:moveTo>
                    <a:pt x="235008" y="0"/>
                  </a:moveTo>
                  <a:lnTo>
                    <a:pt x="236300" y="1784"/>
                  </a:lnTo>
                  <a:lnTo>
                    <a:pt x="237412" y="2270"/>
                  </a:lnTo>
                  <a:lnTo>
                    <a:pt x="240075" y="2432"/>
                  </a:lnTo>
                  <a:lnTo>
                    <a:pt x="242483" y="3412"/>
                  </a:lnTo>
                  <a:lnTo>
                    <a:pt x="244595" y="5165"/>
                  </a:lnTo>
                  <a:lnTo>
                    <a:pt x="246195" y="8150"/>
                  </a:lnTo>
                  <a:lnTo>
                    <a:pt x="246975" y="12813"/>
                  </a:lnTo>
                  <a:lnTo>
                    <a:pt x="245480" y="13041"/>
                  </a:lnTo>
                  <a:lnTo>
                    <a:pt x="241986" y="15367"/>
                  </a:lnTo>
                  <a:lnTo>
                    <a:pt x="245704" y="17509"/>
                  </a:lnTo>
                  <a:lnTo>
                    <a:pt x="247174" y="17778"/>
                  </a:lnTo>
                  <a:lnTo>
                    <a:pt x="244497" y="21145"/>
                  </a:lnTo>
                  <a:lnTo>
                    <a:pt x="240859" y="23555"/>
                  </a:lnTo>
                  <a:lnTo>
                    <a:pt x="238596" y="26314"/>
                  </a:lnTo>
                  <a:lnTo>
                    <a:pt x="240046" y="30874"/>
                  </a:lnTo>
                  <a:lnTo>
                    <a:pt x="240158" y="33714"/>
                  </a:lnTo>
                  <a:lnTo>
                    <a:pt x="236482" y="34073"/>
                  </a:lnTo>
                  <a:lnTo>
                    <a:pt x="237779" y="34551"/>
                  </a:lnTo>
                  <a:lnTo>
                    <a:pt x="239033" y="35281"/>
                  </a:lnTo>
                  <a:lnTo>
                    <a:pt x="240260" y="36291"/>
                  </a:lnTo>
                  <a:lnTo>
                    <a:pt x="240373" y="39161"/>
                  </a:lnTo>
                  <a:lnTo>
                    <a:pt x="233004" y="47383"/>
                  </a:lnTo>
                  <a:lnTo>
                    <a:pt x="231736" y="49668"/>
                  </a:lnTo>
                  <a:lnTo>
                    <a:pt x="233225" y="54259"/>
                  </a:lnTo>
                  <a:lnTo>
                    <a:pt x="236039" y="58396"/>
                  </a:lnTo>
                  <a:lnTo>
                    <a:pt x="237489" y="62117"/>
                  </a:lnTo>
                  <a:lnTo>
                    <a:pt x="234896" y="65433"/>
                  </a:lnTo>
                  <a:lnTo>
                    <a:pt x="233076" y="65734"/>
                  </a:lnTo>
                  <a:lnTo>
                    <a:pt x="231488" y="64908"/>
                  </a:lnTo>
                  <a:lnTo>
                    <a:pt x="229992" y="63705"/>
                  </a:lnTo>
                  <a:lnTo>
                    <a:pt x="228410" y="62831"/>
                  </a:lnTo>
                  <a:lnTo>
                    <a:pt x="224718" y="62611"/>
                  </a:lnTo>
                  <a:lnTo>
                    <a:pt x="222005" y="63068"/>
                  </a:lnTo>
                  <a:lnTo>
                    <a:pt x="216396" y="64004"/>
                  </a:lnTo>
                  <a:lnTo>
                    <a:pt x="213462" y="63270"/>
                  </a:lnTo>
                  <a:lnTo>
                    <a:pt x="210409" y="61142"/>
                  </a:lnTo>
                  <a:lnTo>
                    <a:pt x="211176" y="57353"/>
                  </a:lnTo>
                  <a:lnTo>
                    <a:pt x="211302" y="53759"/>
                  </a:lnTo>
                  <a:lnTo>
                    <a:pt x="210832" y="50528"/>
                  </a:lnTo>
                  <a:lnTo>
                    <a:pt x="209918" y="47857"/>
                  </a:lnTo>
                  <a:lnTo>
                    <a:pt x="213304" y="50423"/>
                  </a:lnTo>
                  <a:lnTo>
                    <a:pt x="214194" y="47314"/>
                  </a:lnTo>
                  <a:lnTo>
                    <a:pt x="213511" y="41884"/>
                  </a:lnTo>
                  <a:lnTo>
                    <a:pt x="212093" y="37335"/>
                  </a:lnTo>
                  <a:lnTo>
                    <a:pt x="215172" y="35826"/>
                  </a:lnTo>
                  <a:lnTo>
                    <a:pt x="216763" y="30577"/>
                  </a:lnTo>
                  <a:lnTo>
                    <a:pt x="216539" y="24836"/>
                  </a:lnTo>
                  <a:lnTo>
                    <a:pt x="214063" y="21864"/>
                  </a:lnTo>
                  <a:lnTo>
                    <a:pt x="213957" y="19023"/>
                  </a:lnTo>
                  <a:lnTo>
                    <a:pt x="216837" y="17397"/>
                  </a:lnTo>
                  <a:lnTo>
                    <a:pt x="220223" y="13512"/>
                  </a:lnTo>
                  <a:lnTo>
                    <a:pt x="222595" y="8980"/>
                  </a:lnTo>
                  <a:lnTo>
                    <a:pt x="222368" y="5445"/>
                  </a:lnTo>
                  <a:lnTo>
                    <a:pt x="223994" y="1499"/>
                  </a:lnTo>
                  <a:lnTo>
                    <a:pt x="226114" y="1360"/>
                  </a:lnTo>
                  <a:lnTo>
                    <a:pt x="228045" y="4209"/>
                  </a:lnTo>
                  <a:lnTo>
                    <a:pt x="229019" y="9363"/>
                  </a:lnTo>
                  <a:lnTo>
                    <a:pt x="228408" y="13597"/>
                  </a:lnTo>
                  <a:lnTo>
                    <a:pt x="226668" y="16165"/>
                  </a:lnTo>
                  <a:lnTo>
                    <a:pt x="224609" y="18354"/>
                  </a:lnTo>
                  <a:lnTo>
                    <a:pt x="222983" y="21538"/>
                  </a:lnTo>
                  <a:lnTo>
                    <a:pt x="223526" y="22636"/>
                  </a:lnTo>
                  <a:lnTo>
                    <a:pt x="225761" y="21435"/>
                  </a:lnTo>
                  <a:lnTo>
                    <a:pt x="228321" y="19211"/>
                  </a:lnTo>
                  <a:lnTo>
                    <a:pt x="229890" y="17131"/>
                  </a:lnTo>
                  <a:lnTo>
                    <a:pt x="233326" y="2969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215">
              <a:extLst>
                <a:ext uri="{FF2B5EF4-FFF2-40B4-BE49-F238E27FC236}">
                  <a16:creationId xmlns:a16="http://schemas.microsoft.com/office/drawing/2014/main" id="{EEBEABDE-18A8-0E81-3AFF-35612892EBC1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3834581" y="2779951"/>
              <a:ext cx="1243243" cy="1435552"/>
            </a:xfrm>
            <a:custGeom>
              <a:avLst/>
              <a:gdLst/>
              <a:ahLst/>
              <a:cxnLst/>
              <a:rect l="l" t="t" r="r" b="b"/>
              <a:pathLst>
                <a:path w="508245" h="586862">
                  <a:moveTo>
                    <a:pt x="220456" y="542674"/>
                  </a:moveTo>
                  <a:lnTo>
                    <a:pt x="221392" y="542743"/>
                  </a:lnTo>
                  <a:lnTo>
                    <a:pt x="222046" y="543295"/>
                  </a:lnTo>
                  <a:lnTo>
                    <a:pt x="223258" y="545453"/>
                  </a:lnTo>
                  <a:lnTo>
                    <a:pt x="224667" y="545689"/>
                  </a:lnTo>
                  <a:lnTo>
                    <a:pt x="225712" y="546216"/>
                  </a:lnTo>
                  <a:lnTo>
                    <a:pt x="226553" y="547059"/>
                  </a:lnTo>
                  <a:lnTo>
                    <a:pt x="227370" y="548306"/>
                  </a:lnTo>
                  <a:lnTo>
                    <a:pt x="224007" y="554685"/>
                  </a:lnTo>
                  <a:lnTo>
                    <a:pt x="222636" y="556101"/>
                  </a:lnTo>
                  <a:lnTo>
                    <a:pt x="229106" y="559994"/>
                  </a:lnTo>
                  <a:lnTo>
                    <a:pt x="230851" y="561790"/>
                  </a:lnTo>
                  <a:lnTo>
                    <a:pt x="231720" y="564363"/>
                  </a:lnTo>
                  <a:lnTo>
                    <a:pt x="232154" y="567565"/>
                  </a:lnTo>
                  <a:lnTo>
                    <a:pt x="232837" y="570580"/>
                  </a:lnTo>
                  <a:lnTo>
                    <a:pt x="234493" y="572464"/>
                  </a:lnTo>
                  <a:lnTo>
                    <a:pt x="228500" y="571920"/>
                  </a:lnTo>
                  <a:lnTo>
                    <a:pt x="226626" y="573215"/>
                  </a:lnTo>
                  <a:lnTo>
                    <a:pt x="224792" y="575554"/>
                  </a:lnTo>
                  <a:lnTo>
                    <a:pt x="223011" y="577273"/>
                  </a:lnTo>
                  <a:lnTo>
                    <a:pt x="221313" y="578437"/>
                  </a:lnTo>
                  <a:lnTo>
                    <a:pt x="219739" y="579234"/>
                  </a:lnTo>
                  <a:lnTo>
                    <a:pt x="220682" y="582839"/>
                  </a:lnTo>
                  <a:lnTo>
                    <a:pt x="218775" y="585252"/>
                  </a:lnTo>
                  <a:lnTo>
                    <a:pt x="215462" y="586555"/>
                  </a:lnTo>
                  <a:lnTo>
                    <a:pt x="212156" y="586862"/>
                  </a:lnTo>
                  <a:lnTo>
                    <a:pt x="198817" y="583461"/>
                  </a:lnTo>
                  <a:lnTo>
                    <a:pt x="195726" y="581609"/>
                  </a:lnTo>
                  <a:lnTo>
                    <a:pt x="196055" y="577969"/>
                  </a:lnTo>
                  <a:lnTo>
                    <a:pt x="198629" y="574414"/>
                  </a:lnTo>
                  <a:lnTo>
                    <a:pt x="202230" y="572976"/>
                  </a:lnTo>
                  <a:lnTo>
                    <a:pt x="204736" y="571380"/>
                  </a:lnTo>
                  <a:lnTo>
                    <a:pt x="205997" y="567450"/>
                  </a:lnTo>
                  <a:lnTo>
                    <a:pt x="205746" y="563122"/>
                  </a:lnTo>
                  <a:lnTo>
                    <a:pt x="203773" y="560216"/>
                  </a:lnTo>
                  <a:lnTo>
                    <a:pt x="209068" y="556743"/>
                  </a:lnTo>
                  <a:lnTo>
                    <a:pt x="214161" y="555920"/>
                  </a:lnTo>
                  <a:lnTo>
                    <a:pt x="218213" y="552885"/>
                  </a:lnTo>
                  <a:close/>
                  <a:moveTo>
                    <a:pt x="246031" y="410451"/>
                  </a:moveTo>
                  <a:lnTo>
                    <a:pt x="248059" y="410503"/>
                  </a:lnTo>
                  <a:lnTo>
                    <a:pt x="265708" y="424542"/>
                  </a:lnTo>
                  <a:lnTo>
                    <a:pt x="263880" y="425842"/>
                  </a:lnTo>
                  <a:lnTo>
                    <a:pt x="262425" y="425886"/>
                  </a:lnTo>
                  <a:lnTo>
                    <a:pt x="258544" y="424144"/>
                  </a:lnTo>
                  <a:lnTo>
                    <a:pt x="258396" y="426752"/>
                  </a:lnTo>
                  <a:lnTo>
                    <a:pt x="262882" y="427905"/>
                  </a:lnTo>
                  <a:lnTo>
                    <a:pt x="269016" y="434472"/>
                  </a:lnTo>
                  <a:lnTo>
                    <a:pt x="273550" y="435438"/>
                  </a:lnTo>
                  <a:lnTo>
                    <a:pt x="273406" y="438030"/>
                  </a:lnTo>
                  <a:lnTo>
                    <a:pt x="267531" y="440744"/>
                  </a:lnTo>
                  <a:lnTo>
                    <a:pt x="263235" y="438357"/>
                  </a:lnTo>
                  <a:lnTo>
                    <a:pt x="259671" y="434360"/>
                  </a:lnTo>
                  <a:lnTo>
                    <a:pt x="251430" y="428728"/>
                  </a:lnTo>
                  <a:lnTo>
                    <a:pt x="247707" y="422476"/>
                  </a:lnTo>
                  <a:lnTo>
                    <a:pt x="243896" y="418085"/>
                  </a:lnTo>
                  <a:lnTo>
                    <a:pt x="239043" y="420425"/>
                  </a:lnTo>
                  <a:lnTo>
                    <a:pt x="240243" y="421739"/>
                  </a:lnTo>
                  <a:lnTo>
                    <a:pt x="241516" y="423526"/>
                  </a:lnTo>
                  <a:lnTo>
                    <a:pt x="242513" y="425466"/>
                  </a:lnTo>
                  <a:lnTo>
                    <a:pt x="242865" y="427214"/>
                  </a:lnTo>
                  <a:lnTo>
                    <a:pt x="243307" y="430479"/>
                  </a:lnTo>
                  <a:lnTo>
                    <a:pt x="244764" y="431294"/>
                  </a:lnTo>
                  <a:lnTo>
                    <a:pt x="246635" y="431198"/>
                  </a:lnTo>
                  <a:lnTo>
                    <a:pt x="248254" y="431664"/>
                  </a:lnTo>
                  <a:lnTo>
                    <a:pt x="253094" y="434303"/>
                  </a:lnTo>
                  <a:lnTo>
                    <a:pt x="253886" y="435158"/>
                  </a:lnTo>
                  <a:lnTo>
                    <a:pt x="256229" y="439929"/>
                  </a:lnTo>
                  <a:lnTo>
                    <a:pt x="259234" y="441639"/>
                  </a:lnTo>
                  <a:lnTo>
                    <a:pt x="265589" y="442101"/>
                  </a:lnTo>
                  <a:lnTo>
                    <a:pt x="268753" y="443240"/>
                  </a:lnTo>
                  <a:lnTo>
                    <a:pt x="271033" y="445935"/>
                  </a:lnTo>
                  <a:lnTo>
                    <a:pt x="272788" y="449161"/>
                  </a:lnTo>
                  <a:lnTo>
                    <a:pt x="274897" y="451472"/>
                  </a:lnTo>
                  <a:lnTo>
                    <a:pt x="278292" y="451377"/>
                  </a:lnTo>
                  <a:lnTo>
                    <a:pt x="276970" y="456910"/>
                  </a:lnTo>
                  <a:lnTo>
                    <a:pt x="274924" y="458901"/>
                  </a:lnTo>
                  <a:lnTo>
                    <a:pt x="272436" y="460042"/>
                  </a:lnTo>
                  <a:lnTo>
                    <a:pt x="269837" y="462890"/>
                  </a:lnTo>
                  <a:lnTo>
                    <a:pt x="268420" y="466269"/>
                  </a:lnTo>
                  <a:lnTo>
                    <a:pt x="265832" y="474005"/>
                  </a:lnTo>
                  <a:lnTo>
                    <a:pt x="264183" y="476967"/>
                  </a:lnTo>
                  <a:lnTo>
                    <a:pt x="260078" y="478639"/>
                  </a:lnTo>
                  <a:lnTo>
                    <a:pt x="244442" y="473496"/>
                  </a:lnTo>
                  <a:lnTo>
                    <a:pt x="244306" y="475855"/>
                  </a:lnTo>
                  <a:lnTo>
                    <a:pt x="257330" y="480729"/>
                  </a:lnTo>
                  <a:lnTo>
                    <a:pt x="260788" y="484612"/>
                  </a:lnTo>
                  <a:lnTo>
                    <a:pt x="262291" y="490581"/>
                  </a:lnTo>
                  <a:lnTo>
                    <a:pt x="262765" y="498689"/>
                  </a:lnTo>
                  <a:lnTo>
                    <a:pt x="261885" y="506272"/>
                  </a:lnTo>
                  <a:lnTo>
                    <a:pt x="259324" y="510678"/>
                  </a:lnTo>
                  <a:lnTo>
                    <a:pt x="255858" y="508164"/>
                  </a:lnTo>
                  <a:lnTo>
                    <a:pt x="251932" y="507244"/>
                  </a:lnTo>
                  <a:lnTo>
                    <a:pt x="243928" y="507199"/>
                  </a:lnTo>
                  <a:lnTo>
                    <a:pt x="243779" y="509807"/>
                  </a:lnTo>
                  <a:lnTo>
                    <a:pt x="247412" y="510681"/>
                  </a:lnTo>
                  <a:lnTo>
                    <a:pt x="254915" y="510073"/>
                  </a:lnTo>
                  <a:lnTo>
                    <a:pt x="258044" y="510606"/>
                  </a:lnTo>
                  <a:lnTo>
                    <a:pt x="261446" y="513816"/>
                  </a:lnTo>
                  <a:lnTo>
                    <a:pt x="263622" y="517984"/>
                  </a:lnTo>
                  <a:lnTo>
                    <a:pt x="266024" y="521293"/>
                  </a:lnTo>
                  <a:lnTo>
                    <a:pt x="270156" y="521940"/>
                  </a:lnTo>
                  <a:lnTo>
                    <a:pt x="270024" y="524315"/>
                  </a:lnTo>
                  <a:lnTo>
                    <a:pt x="264928" y="529128"/>
                  </a:lnTo>
                  <a:lnTo>
                    <a:pt x="248024" y="524591"/>
                  </a:lnTo>
                  <a:lnTo>
                    <a:pt x="241306" y="528184"/>
                  </a:lnTo>
                  <a:lnTo>
                    <a:pt x="235717" y="520671"/>
                  </a:lnTo>
                  <a:lnTo>
                    <a:pt x="234149" y="516486"/>
                  </a:lnTo>
                  <a:lnTo>
                    <a:pt x="229942" y="496138"/>
                  </a:lnTo>
                  <a:lnTo>
                    <a:pt x="229527" y="489932"/>
                  </a:lnTo>
                  <a:lnTo>
                    <a:pt x="231023" y="485547"/>
                  </a:lnTo>
                  <a:lnTo>
                    <a:pt x="231175" y="482939"/>
                  </a:lnTo>
                  <a:lnTo>
                    <a:pt x="227948" y="477707"/>
                  </a:lnTo>
                  <a:lnTo>
                    <a:pt x="225828" y="475607"/>
                  </a:lnTo>
                  <a:lnTo>
                    <a:pt x="223162" y="474642"/>
                  </a:lnTo>
                  <a:lnTo>
                    <a:pt x="225964" y="471721"/>
                  </a:lnTo>
                  <a:lnTo>
                    <a:pt x="227727" y="469097"/>
                  </a:lnTo>
                  <a:lnTo>
                    <a:pt x="230837" y="462004"/>
                  </a:lnTo>
                  <a:lnTo>
                    <a:pt x="232028" y="458038"/>
                  </a:lnTo>
                  <a:lnTo>
                    <a:pt x="232708" y="454760"/>
                  </a:lnTo>
                  <a:lnTo>
                    <a:pt x="233861" y="452583"/>
                  </a:lnTo>
                  <a:lnTo>
                    <a:pt x="236569" y="451898"/>
                  </a:lnTo>
                  <a:lnTo>
                    <a:pt x="238392" y="446722"/>
                  </a:lnTo>
                  <a:lnTo>
                    <a:pt x="236634" y="434988"/>
                  </a:lnTo>
                  <a:lnTo>
                    <a:pt x="232166" y="417413"/>
                  </a:lnTo>
                  <a:lnTo>
                    <a:pt x="236393" y="414603"/>
                  </a:lnTo>
                  <a:close/>
                  <a:moveTo>
                    <a:pt x="246437" y="379296"/>
                  </a:moveTo>
                  <a:lnTo>
                    <a:pt x="251256" y="379336"/>
                  </a:lnTo>
                  <a:lnTo>
                    <a:pt x="253553" y="381320"/>
                  </a:lnTo>
                  <a:lnTo>
                    <a:pt x="256034" y="382301"/>
                  </a:lnTo>
                  <a:lnTo>
                    <a:pt x="258589" y="381977"/>
                  </a:lnTo>
                  <a:lnTo>
                    <a:pt x="261052" y="379887"/>
                  </a:lnTo>
                  <a:lnTo>
                    <a:pt x="262170" y="381724"/>
                  </a:lnTo>
                  <a:lnTo>
                    <a:pt x="263753" y="382747"/>
                  </a:lnTo>
                  <a:lnTo>
                    <a:pt x="265742" y="383091"/>
                  </a:lnTo>
                  <a:lnTo>
                    <a:pt x="268047" y="382892"/>
                  </a:lnTo>
                  <a:lnTo>
                    <a:pt x="267603" y="384534"/>
                  </a:lnTo>
                  <a:lnTo>
                    <a:pt x="267496" y="384809"/>
                  </a:lnTo>
                  <a:lnTo>
                    <a:pt x="267241" y="384732"/>
                  </a:lnTo>
                  <a:lnTo>
                    <a:pt x="266365" y="385415"/>
                  </a:lnTo>
                  <a:lnTo>
                    <a:pt x="268029" y="387095"/>
                  </a:lnTo>
                  <a:lnTo>
                    <a:pt x="269739" y="386910"/>
                  </a:lnTo>
                  <a:lnTo>
                    <a:pt x="271533" y="386121"/>
                  </a:lnTo>
                  <a:lnTo>
                    <a:pt x="273493" y="385808"/>
                  </a:lnTo>
                  <a:lnTo>
                    <a:pt x="274860" y="386537"/>
                  </a:lnTo>
                  <a:lnTo>
                    <a:pt x="280218" y="391394"/>
                  </a:lnTo>
                  <a:lnTo>
                    <a:pt x="278801" y="393683"/>
                  </a:lnTo>
                  <a:lnTo>
                    <a:pt x="276098" y="391823"/>
                  </a:lnTo>
                  <a:lnTo>
                    <a:pt x="271206" y="395866"/>
                  </a:lnTo>
                  <a:lnTo>
                    <a:pt x="267315" y="395917"/>
                  </a:lnTo>
                  <a:lnTo>
                    <a:pt x="268208" y="399734"/>
                  </a:lnTo>
                  <a:lnTo>
                    <a:pt x="269880" y="401306"/>
                  </a:lnTo>
                  <a:lnTo>
                    <a:pt x="274652" y="401553"/>
                  </a:lnTo>
                  <a:lnTo>
                    <a:pt x="277545" y="402894"/>
                  </a:lnTo>
                  <a:lnTo>
                    <a:pt x="279032" y="405561"/>
                  </a:lnTo>
                  <a:lnTo>
                    <a:pt x="278612" y="408154"/>
                  </a:lnTo>
                  <a:lnTo>
                    <a:pt x="260514" y="412465"/>
                  </a:lnTo>
                  <a:lnTo>
                    <a:pt x="255200" y="410906"/>
                  </a:lnTo>
                  <a:lnTo>
                    <a:pt x="239770" y="400096"/>
                  </a:lnTo>
                  <a:lnTo>
                    <a:pt x="237673" y="395521"/>
                  </a:lnTo>
                  <a:lnTo>
                    <a:pt x="239099" y="388440"/>
                  </a:lnTo>
                  <a:lnTo>
                    <a:pt x="242198" y="382668"/>
                  </a:lnTo>
                  <a:close/>
                  <a:moveTo>
                    <a:pt x="262563" y="303965"/>
                  </a:moveTo>
                  <a:lnTo>
                    <a:pt x="262429" y="306325"/>
                  </a:lnTo>
                  <a:lnTo>
                    <a:pt x="261107" y="307589"/>
                  </a:lnTo>
                  <a:lnTo>
                    <a:pt x="260063" y="309103"/>
                  </a:lnTo>
                  <a:lnTo>
                    <a:pt x="257816" y="313882"/>
                  </a:lnTo>
                  <a:lnTo>
                    <a:pt x="268694" y="319225"/>
                  </a:lnTo>
                  <a:lnTo>
                    <a:pt x="272986" y="319961"/>
                  </a:lnTo>
                  <a:lnTo>
                    <a:pt x="273133" y="317353"/>
                  </a:lnTo>
                  <a:lnTo>
                    <a:pt x="271789" y="316937"/>
                  </a:lnTo>
                  <a:lnTo>
                    <a:pt x="269093" y="314513"/>
                  </a:lnTo>
                  <a:lnTo>
                    <a:pt x="273544" y="312845"/>
                  </a:lnTo>
                  <a:lnTo>
                    <a:pt x="283523" y="306091"/>
                  </a:lnTo>
                  <a:lnTo>
                    <a:pt x="289153" y="305432"/>
                  </a:lnTo>
                  <a:lnTo>
                    <a:pt x="291513" y="309141"/>
                  </a:lnTo>
                  <a:lnTo>
                    <a:pt x="292090" y="312737"/>
                  </a:lnTo>
                  <a:lnTo>
                    <a:pt x="290662" y="315852"/>
                  </a:lnTo>
                  <a:lnTo>
                    <a:pt x="286938" y="318110"/>
                  </a:lnTo>
                  <a:lnTo>
                    <a:pt x="290145" y="320402"/>
                  </a:lnTo>
                  <a:lnTo>
                    <a:pt x="296504" y="317475"/>
                  </a:lnTo>
                  <a:lnTo>
                    <a:pt x="299088" y="319606"/>
                  </a:lnTo>
                  <a:lnTo>
                    <a:pt x="302100" y="319985"/>
                  </a:lnTo>
                  <a:lnTo>
                    <a:pt x="306582" y="320317"/>
                  </a:lnTo>
                  <a:lnTo>
                    <a:pt x="310246" y="322689"/>
                  </a:lnTo>
                  <a:lnTo>
                    <a:pt x="311838" y="327521"/>
                  </a:lnTo>
                  <a:lnTo>
                    <a:pt x="309604" y="329552"/>
                  </a:lnTo>
                  <a:lnTo>
                    <a:pt x="305800" y="335796"/>
                  </a:lnTo>
                  <a:lnTo>
                    <a:pt x="304316" y="337322"/>
                  </a:lnTo>
                  <a:lnTo>
                    <a:pt x="301500" y="336642"/>
                  </a:lnTo>
                  <a:lnTo>
                    <a:pt x="299598" y="333864"/>
                  </a:lnTo>
                  <a:lnTo>
                    <a:pt x="298196" y="330815"/>
                  </a:lnTo>
                  <a:lnTo>
                    <a:pt x="296933" y="329346"/>
                  </a:lnTo>
                  <a:lnTo>
                    <a:pt x="294709" y="328386"/>
                  </a:lnTo>
                  <a:lnTo>
                    <a:pt x="290324" y="323525"/>
                  </a:lnTo>
                  <a:lnTo>
                    <a:pt x="281182" y="323028"/>
                  </a:lnTo>
                  <a:lnTo>
                    <a:pt x="281025" y="325869"/>
                  </a:lnTo>
                  <a:lnTo>
                    <a:pt x="283389" y="326231"/>
                  </a:lnTo>
                  <a:lnTo>
                    <a:pt x="284774" y="327117"/>
                  </a:lnTo>
                  <a:lnTo>
                    <a:pt x="284912" y="328682"/>
                  </a:lnTo>
                  <a:lnTo>
                    <a:pt x="283558" y="331005"/>
                  </a:lnTo>
                  <a:lnTo>
                    <a:pt x="283401" y="333846"/>
                  </a:lnTo>
                  <a:lnTo>
                    <a:pt x="289330" y="333717"/>
                  </a:lnTo>
                  <a:lnTo>
                    <a:pt x="291036" y="335615"/>
                  </a:lnTo>
                  <a:lnTo>
                    <a:pt x="291411" y="340820"/>
                  </a:lnTo>
                  <a:lnTo>
                    <a:pt x="292637" y="344342"/>
                  </a:lnTo>
                  <a:lnTo>
                    <a:pt x="295950" y="344660"/>
                  </a:lnTo>
                  <a:lnTo>
                    <a:pt x="302623" y="342727"/>
                  </a:lnTo>
                  <a:lnTo>
                    <a:pt x="298168" y="350851"/>
                  </a:lnTo>
                  <a:lnTo>
                    <a:pt x="292985" y="354170"/>
                  </a:lnTo>
                  <a:lnTo>
                    <a:pt x="280965" y="354625"/>
                  </a:lnTo>
                  <a:lnTo>
                    <a:pt x="279434" y="355102"/>
                  </a:lnTo>
                  <a:lnTo>
                    <a:pt x="276364" y="356833"/>
                  </a:lnTo>
                  <a:lnTo>
                    <a:pt x="275107" y="356888"/>
                  </a:lnTo>
                  <a:lnTo>
                    <a:pt x="273769" y="355273"/>
                  </a:lnTo>
                  <a:lnTo>
                    <a:pt x="272252" y="350144"/>
                  </a:lnTo>
                  <a:lnTo>
                    <a:pt x="271363" y="348866"/>
                  </a:lnTo>
                  <a:lnTo>
                    <a:pt x="268632" y="349462"/>
                  </a:lnTo>
                  <a:lnTo>
                    <a:pt x="259597" y="356027"/>
                  </a:lnTo>
                  <a:lnTo>
                    <a:pt x="259435" y="358883"/>
                  </a:lnTo>
                  <a:lnTo>
                    <a:pt x="274181" y="359703"/>
                  </a:lnTo>
                  <a:lnTo>
                    <a:pt x="286408" y="356804"/>
                  </a:lnTo>
                  <a:lnTo>
                    <a:pt x="290485" y="357725"/>
                  </a:lnTo>
                  <a:lnTo>
                    <a:pt x="293902" y="359264"/>
                  </a:lnTo>
                  <a:lnTo>
                    <a:pt x="295156" y="360639"/>
                  </a:lnTo>
                  <a:lnTo>
                    <a:pt x="295792" y="363242"/>
                  </a:lnTo>
                  <a:lnTo>
                    <a:pt x="294970" y="365596"/>
                  </a:lnTo>
                  <a:lnTo>
                    <a:pt x="290380" y="373414"/>
                  </a:lnTo>
                  <a:lnTo>
                    <a:pt x="281874" y="372332"/>
                  </a:lnTo>
                  <a:lnTo>
                    <a:pt x="277606" y="372814"/>
                  </a:lnTo>
                  <a:lnTo>
                    <a:pt x="274076" y="375377"/>
                  </a:lnTo>
                  <a:lnTo>
                    <a:pt x="270899" y="372632"/>
                  </a:lnTo>
                  <a:lnTo>
                    <a:pt x="263702" y="372826"/>
                  </a:lnTo>
                  <a:lnTo>
                    <a:pt x="260099" y="371752"/>
                  </a:lnTo>
                  <a:lnTo>
                    <a:pt x="258250" y="370293"/>
                  </a:lnTo>
                  <a:lnTo>
                    <a:pt x="257527" y="369318"/>
                  </a:lnTo>
                  <a:lnTo>
                    <a:pt x="255426" y="364668"/>
                  </a:lnTo>
                  <a:lnTo>
                    <a:pt x="254828" y="362548"/>
                  </a:lnTo>
                  <a:lnTo>
                    <a:pt x="253997" y="360430"/>
                  </a:lnTo>
                  <a:lnTo>
                    <a:pt x="252453" y="358490"/>
                  </a:lnTo>
                  <a:lnTo>
                    <a:pt x="254230" y="358404"/>
                  </a:lnTo>
                  <a:lnTo>
                    <a:pt x="258331" y="355956"/>
                  </a:lnTo>
                  <a:lnTo>
                    <a:pt x="251620" y="354955"/>
                  </a:lnTo>
                  <a:lnTo>
                    <a:pt x="239738" y="346069"/>
                  </a:lnTo>
                  <a:lnTo>
                    <a:pt x="233539" y="344122"/>
                  </a:lnTo>
                  <a:lnTo>
                    <a:pt x="231997" y="346478"/>
                  </a:lnTo>
                  <a:lnTo>
                    <a:pt x="230523" y="348105"/>
                  </a:lnTo>
                  <a:lnTo>
                    <a:pt x="229052" y="348830"/>
                  </a:lnTo>
                  <a:lnTo>
                    <a:pt x="227440" y="348393"/>
                  </a:lnTo>
                  <a:lnTo>
                    <a:pt x="224998" y="346615"/>
                  </a:lnTo>
                  <a:lnTo>
                    <a:pt x="221774" y="345070"/>
                  </a:lnTo>
                  <a:lnTo>
                    <a:pt x="212899" y="337677"/>
                  </a:lnTo>
                  <a:lnTo>
                    <a:pt x="213056" y="335070"/>
                  </a:lnTo>
                  <a:lnTo>
                    <a:pt x="217877" y="332070"/>
                  </a:lnTo>
                  <a:lnTo>
                    <a:pt x="221462" y="325708"/>
                  </a:lnTo>
                  <a:lnTo>
                    <a:pt x="224681" y="318298"/>
                  </a:lnTo>
                  <a:lnTo>
                    <a:pt x="228420" y="312193"/>
                  </a:lnTo>
                  <a:lnTo>
                    <a:pt x="232608" y="314914"/>
                  </a:lnTo>
                  <a:lnTo>
                    <a:pt x="246671" y="313249"/>
                  </a:lnTo>
                  <a:lnTo>
                    <a:pt x="246520" y="315856"/>
                  </a:lnTo>
                  <a:lnTo>
                    <a:pt x="244911" y="316014"/>
                  </a:lnTo>
                  <a:lnTo>
                    <a:pt x="240794" y="318144"/>
                  </a:lnTo>
                  <a:lnTo>
                    <a:pt x="244154" y="323289"/>
                  </a:lnTo>
                  <a:lnTo>
                    <a:pt x="250575" y="317489"/>
                  </a:lnTo>
                  <a:lnTo>
                    <a:pt x="257544" y="308447"/>
                  </a:lnTo>
                  <a:close/>
                  <a:moveTo>
                    <a:pt x="294349" y="287169"/>
                  </a:moveTo>
                  <a:lnTo>
                    <a:pt x="295999" y="291354"/>
                  </a:lnTo>
                  <a:lnTo>
                    <a:pt x="292093" y="295408"/>
                  </a:lnTo>
                  <a:lnTo>
                    <a:pt x="286044" y="297836"/>
                  </a:lnTo>
                  <a:lnTo>
                    <a:pt x="281253" y="296920"/>
                  </a:lnTo>
                  <a:lnTo>
                    <a:pt x="290438" y="287845"/>
                  </a:lnTo>
                  <a:close/>
                  <a:moveTo>
                    <a:pt x="0" y="231348"/>
                  </a:moveTo>
                  <a:lnTo>
                    <a:pt x="2989" y="234177"/>
                  </a:lnTo>
                  <a:lnTo>
                    <a:pt x="10258" y="235764"/>
                  </a:lnTo>
                  <a:lnTo>
                    <a:pt x="13540" y="237831"/>
                  </a:lnTo>
                  <a:lnTo>
                    <a:pt x="9819" y="241905"/>
                  </a:lnTo>
                  <a:lnTo>
                    <a:pt x="5285" y="242644"/>
                  </a:lnTo>
                  <a:lnTo>
                    <a:pt x="1494" y="239305"/>
                  </a:lnTo>
                  <a:close/>
                  <a:moveTo>
                    <a:pt x="327744" y="218178"/>
                  </a:moveTo>
                  <a:lnTo>
                    <a:pt x="331285" y="220976"/>
                  </a:lnTo>
                  <a:lnTo>
                    <a:pt x="330919" y="229209"/>
                  </a:lnTo>
                  <a:lnTo>
                    <a:pt x="328380" y="230587"/>
                  </a:lnTo>
                  <a:lnTo>
                    <a:pt x="321452" y="225448"/>
                  </a:lnTo>
                  <a:lnTo>
                    <a:pt x="320514" y="229710"/>
                  </a:lnTo>
                  <a:lnTo>
                    <a:pt x="318943" y="232166"/>
                  </a:lnTo>
                  <a:lnTo>
                    <a:pt x="316781" y="233251"/>
                  </a:lnTo>
                  <a:lnTo>
                    <a:pt x="313960" y="233382"/>
                  </a:lnTo>
                  <a:lnTo>
                    <a:pt x="314592" y="230240"/>
                  </a:lnTo>
                  <a:lnTo>
                    <a:pt x="314692" y="229451"/>
                  </a:lnTo>
                  <a:lnTo>
                    <a:pt x="314479" y="229253"/>
                  </a:lnTo>
                  <a:lnTo>
                    <a:pt x="314253" y="227903"/>
                  </a:lnTo>
                  <a:lnTo>
                    <a:pt x="323127" y="220086"/>
                  </a:lnTo>
                  <a:close/>
                  <a:moveTo>
                    <a:pt x="361724" y="91445"/>
                  </a:moveTo>
                  <a:lnTo>
                    <a:pt x="365430" y="93311"/>
                  </a:lnTo>
                  <a:lnTo>
                    <a:pt x="371529" y="101099"/>
                  </a:lnTo>
                  <a:lnTo>
                    <a:pt x="373672" y="99881"/>
                  </a:lnTo>
                  <a:lnTo>
                    <a:pt x="375376" y="101878"/>
                  </a:lnTo>
                  <a:lnTo>
                    <a:pt x="376797" y="104282"/>
                  </a:lnTo>
                  <a:lnTo>
                    <a:pt x="377910" y="107138"/>
                  </a:lnTo>
                  <a:lnTo>
                    <a:pt x="378650" y="110568"/>
                  </a:lnTo>
                  <a:lnTo>
                    <a:pt x="362153" y="109755"/>
                  </a:lnTo>
                  <a:lnTo>
                    <a:pt x="362286" y="107147"/>
                  </a:lnTo>
                  <a:lnTo>
                    <a:pt x="364374" y="107375"/>
                  </a:lnTo>
                  <a:lnTo>
                    <a:pt x="365035" y="107284"/>
                  </a:lnTo>
                  <a:lnTo>
                    <a:pt x="365156" y="104893"/>
                  </a:lnTo>
                  <a:lnTo>
                    <a:pt x="362692" y="103339"/>
                  </a:lnTo>
                  <a:lnTo>
                    <a:pt x="360848" y="99619"/>
                  </a:lnTo>
                  <a:lnTo>
                    <a:pt x="360284" y="95249"/>
                  </a:lnTo>
                  <a:close/>
                  <a:moveTo>
                    <a:pt x="488855" y="0"/>
                  </a:moveTo>
                  <a:lnTo>
                    <a:pt x="493660" y="603"/>
                  </a:lnTo>
                  <a:lnTo>
                    <a:pt x="497501" y="5253"/>
                  </a:lnTo>
                  <a:lnTo>
                    <a:pt x="500745" y="12244"/>
                  </a:lnTo>
                  <a:lnTo>
                    <a:pt x="502972" y="19676"/>
                  </a:lnTo>
                  <a:lnTo>
                    <a:pt x="503675" y="25801"/>
                  </a:lnTo>
                  <a:lnTo>
                    <a:pt x="507020" y="32094"/>
                  </a:lnTo>
                  <a:lnTo>
                    <a:pt x="507485" y="36126"/>
                  </a:lnTo>
                  <a:lnTo>
                    <a:pt x="503798" y="37785"/>
                  </a:lnTo>
                  <a:lnTo>
                    <a:pt x="502220" y="39883"/>
                  </a:lnTo>
                  <a:lnTo>
                    <a:pt x="496976" y="55539"/>
                  </a:lnTo>
                  <a:lnTo>
                    <a:pt x="498562" y="58077"/>
                  </a:lnTo>
                  <a:lnTo>
                    <a:pt x="500761" y="60032"/>
                  </a:lnTo>
                  <a:lnTo>
                    <a:pt x="503386" y="61133"/>
                  </a:lnTo>
                  <a:lnTo>
                    <a:pt x="506350" y="61141"/>
                  </a:lnTo>
                  <a:lnTo>
                    <a:pt x="506236" y="63983"/>
                  </a:lnTo>
                  <a:lnTo>
                    <a:pt x="501865" y="65988"/>
                  </a:lnTo>
                  <a:lnTo>
                    <a:pt x="492584" y="72489"/>
                  </a:lnTo>
                  <a:lnTo>
                    <a:pt x="489163" y="76116"/>
                  </a:lnTo>
                  <a:lnTo>
                    <a:pt x="490027" y="79526"/>
                  </a:lnTo>
                  <a:lnTo>
                    <a:pt x="489637" y="82030"/>
                  </a:lnTo>
                  <a:lnTo>
                    <a:pt x="488084" y="83569"/>
                  </a:lnTo>
                  <a:lnTo>
                    <a:pt x="485447" y="84021"/>
                  </a:lnTo>
                  <a:lnTo>
                    <a:pt x="483019" y="85135"/>
                  </a:lnTo>
                  <a:lnTo>
                    <a:pt x="480872" y="90444"/>
                  </a:lnTo>
                  <a:lnTo>
                    <a:pt x="474821" y="92604"/>
                  </a:lnTo>
                  <a:lnTo>
                    <a:pt x="474284" y="95397"/>
                  </a:lnTo>
                  <a:lnTo>
                    <a:pt x="474738" y="98776"/>
                  </a:lnTo>
                  <a:lnTo>
                    <a:pt x="474339" y="101607"/>
                  </a:lnTo>
                  <a:lnTo>
                    <a:pt x="472426" y="103426"/>
                  </a:lnTo>
                  <a:lnTo>
                    <a:pt x="470175" y="104139"/>
                  </a:lnTo>
                  <a:lnTo>
                    <a:pt x="464615" y="104044"/>
                  </a:lnTo>
                  <a:lnTo>
                    <a:pt x="468047" y="110350"/>
                  </a:lnTo>
                  <a:lnTo>
                    <a:pt x="475362" y="112991"/>
                  </a:lnTo>
                  <a:lnTo>
                    <a:pt x="483424" y="112765"/>
                  </a:lnTo>
                  <a:lnTo>
                    <a:pt x="489093" y="110493"/>
                  </a:lnTo>
                  <a:lnTo>
                    <a:pt x="499266" y="100246"/>
                  </a:lnTo>
                  <a:lnTo>
                    <a:pt x="502364" y="98597"/>
                  </a:lnTo>
                  <a:lnTo>
                    <a:pt x="506161" y="97441"/>
                  </a:lnTo>
                  <a:lnTo>
                    <a:pt x="508245" y="97756"/>
                  </a:lnTo>
                  <a:lnTo>
                    <a:pt x="506257" y="100525"/>
                  </a:lnTo>
                  <a:lnTo>
                    <a:pt x="506162" y="102901"/>
                  </a:lnTo>
                  <a:lnTo>
                    <a:pt x="507397" y="102950"/>
                  </a:lnTo>
                  <a:lnTo>
                    <a:pt x="506381" y="104776"/>
                  </a:lnTo>
                  <a:lnTo>
                    <a:pt x="505328" y="107115"/>
                  </a:lnTo>
                  <a:lnTo>
                    <a:pt x="504445" y="108293"/>
                  </a:lnTo>
                  <a:lnTo>
                    <a:pt x="504912" y="109712"/>
                  </a:lnTo>
                  <a:lnTo>
                    <a:pt x="505733" y="113556"/>
                  </a:lnTo>
                  <a:lnTo>
                    <a:pt x="500314" y="115969"/>
                  </a:lnTo>
                  <a:lnTo>
                    <a:pt x="498492" y="117203"/>
                  </a:lnTo>
                  <a:lnTo>
                    <a:pt x="497030" y="118871"/>
                  </a:lnTo>
                  <a:lnTo>
                    <a:pt x="494962" y="122491"/>
                  </a:lnTo>
                  <a:lnTo>
                    <a:pt x="494180" y="123549"/>
                  </a:lnTo>
                  <a:lnTo>
                    <a:pt x="490429" y="125372"/>
                  </a:lnTo>
                  <a:lnTo>
                    <a:pt x="487654" y="124808"/>
                  </a:lnTo>
                  <a:lnTo>
                    <a:pt x="481929" y="120436"/>
                  </a:lnTo>
                  <a:lnTo>
                    <a:pt x="478588" y="119115"/>
                  </a:lnTo>
                  <a:lnTo>
                    <a:pt x="469555" y="119921"/>
                  </a:lnTo>
                  <a:lnTo>
                    <a:pt x="466248" y="118598"/>
                  </a:lnTo>
                  <a:lnTo>
                    <a:pt x="460427" y="114399"/>
                  </a:lnTo>
                  <a:lnTo>
                    <a:pt x="457295" y="114172"/>
                  </a:lnTo>
                  <a:lnTo>
                    <a:pt x="461365" y="128270"/>
                  </a:lnTo>
                  <a:lnTo>
                    <a:pt x="463372" y="132728"/>
                  </a:lnTo>
                  <a:lnTo>
                    <a:pt x="461610" y="134348"/>
                  </a:lnTo>
                  <a:lnTo>
                    <a:pt x="460830" y="135855"/>
                  </a:lnTo>
                  <a:lnTo>
                    <a:pt x="460903" y="137772"/>
                  </a:lnTo>
                  <a:lnTo>
                    <a:pt x="461647" y="140697"/>
                  </a:lnTo>
                  <a:lnTo>
                    <a:pt x="457946" y="143419"/>
                  </a:lnTo>
                  <a:lnTo>
                    <a:pt x="447653" y="145323"/>
                  </a:lnTo>
                  <a:lnTo>
                    <a:pt x="440522" y="153491"/>
                  </a:lnTo>
                  <a:lnTo>
                    <a:pt x="437421" y="155314"/>
                  </a:lnTo>
                  <a:lnTo>
                    <a:pt x="435521" y="155105"/>
                  </a:lnTo>
                  <a:lnTo>
                    <a:pt x="432534" y="152778"/>
                  </a:lnTo>
                  <a:lnTo>
                    <a:pt x="430650" y="152414"/>
                  </a:lnTo>
                  <a:lnTo>
                    <a:pt x="424903" y="157369"/>
                  </a:lnTo>
                  <a:lnTo>
                    <a:pt x="414257" y="159793"/>
                  </a:lnTo>
                  <a:lnTo>
                    <a:pt x="411002" y="159348"/>
                  </a:lnTo>
                  <a:lnTo>
                    <a:pt x="410880" y="161957"/>
                  </a:lnTo>
                  <a:lnTo>
                    <a:pt x="418558" y="162527"/>
                  </a:lnTo>
                  <a:lnTo>
                    <a:pt x="445080" y="157332"/>
                  </a:lnTo>
                  <a:lnTo>
                    <a:pt x="451439" y="153795"/>
                  </a:lnTo>
                  <a:lnTo>
                    <a:pt x="454193" y="153448"/>
                  </a:lnTo>
                  <a:lnTo>
                    <a:pt x="456744" y="155503"/>
                  </a:lnTo>
                  <a:lnTo>
                    <a:pt x="458622" y="159411"/>
                  </a:lnTo>
                  <a:lnTo>
                    <a:pt x="459487" y="164317"/>
                  </a:lnTo>
                  <a:lnTo>
                    <a:pt x="459024" y="169291"/>
                  </a:lnTo>
                  <a:lnTo>
                    <a:pt x="459817" y="169979"/>
                  </a:lnTo>
                  <a:lnTo>
                    <a:pt x="461662" y="172251"/>
                  </a:lnTo>
                  <a:lnTo>
                    <a:pt x="460040" y="174329"/>
                  </a:lnTo>
                  <a:lnTo>
                    <a:pt x="458312" y="175796"/>
                  </a:lnTo>
                  <a:lnTo>
                    <a:pt x="456494" y="176684"/>
                  </a:lnTo>
                  <a:lnTo>
                    <a:pt x="454547" y="176942"/>
                  </a:lnTo>
                  <a:lnTo>
                    <a:pt x="456655" y="178666"/>
                  </a:lnTo>
                  <a:lnTo>
                    <a:pt x="459000" y="179699"/>
                  </a:lnTo>
                  <a:lnTo>
                    <a:pt x="461527" y="180134"/>
                  </a:lnTo>
                  <a:lnTo>
                    <a:pt x="464097" y="179962"/>
                  </a:lnTo>
                  <a:lnTo>
                    <a:pt x="460166" y="184153"/>
                  </a:lnTo>
                  <a:lnTo>
                    <a:pt x="457124" y="188348"/>
                  </a:lnTo>
                  <a:lnTo>
                    <a:pt x="453786" y="191504"/>
                  </a:lnTo>
                  <a:lnTo>
                    <a:pt x="448954" y="192603"/>
                  </a:lnTo>
                  <a:lnTo>
                    <a:pt x="430138" y="188429"/>
                  </a:lnTo>
                  <a:lnTo>
                    <a:pt x="425957" y="186467"/>
                  </a:lnTo>
                  <a:lnTo>
                    <a:pt x="424825" y="186323"/>
                  </a:lnTo>
                  <a:lnTo>
                    <a:pt x="423526" y="189112"/>
                  </a:lnTo>
                  <a:lnTo>
                    <a:pt x="425161" y="190866"/>
                  </a:lnTo>
                  <a:lnTo>
                    <a:pt x="429423" y="192925"/>
                  </a:lnTo>
                  <a:lnTo>
                    <a:pt x="432441" y="196234"/>
                  </a:lnTo>
                  <a:lnTo>
                    <a:pt x="439525" y="198694"/>
                  </a:lnTo>
                  <a:lnTo>
                    <a:pt x="442216" y="202766"/>
                  </a:lnTo>
                  <a:lnTo>
                    <a:pt x="442100" y="205375"/>
                  </a:lnTo>
                  <a:lnTo>
                    <a:pt x="440102" y="206842"/>
                  </a:lnTo>
                  <a:lnTo>
                    <a:pt x="436550" y="212754"/>
                  </a:lnTo>
                  <a:lnTo>
                    <a:pt x="434720" y="215241"/>
                  </a:lnTo>
                  <a:lnTo>
                    <a:pt x="430969" y="217782"/>
                  </a:lnTo>
                  <a:lnTo>
                    <a:pt x="428432" y="217435"/>
                  </a:lnTo>
                  <a:lnTo>
                    <a:pt x="425917" y="215861"/>
                  </a:lnTo>
                  <a:lnTo>
                    <a:pt x="422269" y="214684"/>
                  </a:lnTo>
                  <a:lnTo>
                    <a:pt x="422138" y="217526"/>
                  </a:lnTo>
                  <a:lnTo>
                    <a:pt x="422998" y="218251"/>
                  </a:lnTo>
                  <a:lnTo>
                    <a:pt x="423902" y="219426"/>
                  </a:lnTo>
                  <a:lnTo>
                    <a:pt x="424782" y="220260"/>
                  </a:lnTo>
                  <a:lnTo>
                    <a:pt x="424652" y="223102"/>
                  </a:lnTo>
                  <a:lnTo>
                    <a:pt x="420015" y="225227"/>
                  </a:lnTo>
                  <a:lnTo>
                    <a:pt x="416271" y="224295"/>
                  </a:lnTo>
                  <a:lnTo>
                    <a:pt x="413279" y="221232"/>
                  </a:lnTo>
                  <a:lnTo>
                    <a:pt x="410938" y="217016"/>
                  </a:lnTo>
                  <a:lnTo>
                    <a:pt x="409432" y="211765"/>
                  </a:lnTo>
                  <a:lnTo>
                    <a:pt x="408416" y="209664"/>
                  </a:lnTo>
                  <a:lnTo>
                    <a:pt x="406551" y="208737"/>
                  </a:lnTo>
                  <a:lnTo>
                    <a:pt x="405421" y="210646"/>
                  </a:lnTo>
                  <a:lnTo>
                    <a:pt x="406305" y="215029"/>
                  </a:lnTo>
                  <a:lnTo>
                    <a:pt x="408034" y="219730"/>
                  </a:lnTo>
                  <a:lnTo>
                    <a:pt x="409430" y="222409"/>
                  </a:lnTo>
                  <a:lnTo>
                    <a:pt x="407932" y="224721"/>
                  </a:lnTo>
                  <a:lnTo>
                    <a:pt x="401637" y="221100"/>
                  </a:lnTo>
                  <a:lnTo>
                    <a:pt x="399747" y="219112"/>
                  </a:lnTo>
                  <a:lnTo>
                    <a:pt x="398785" y="217106"/>
                  </a:lnTo>
                  <a:lnTo>
                    <a:pt x="397738" y="212358"/>
                  </a:lnTo>
                  <a:lnTo>
                    <a:pt x="392741" y="200637"/>
                  </a:lnTo>
                  <a:lnTo>
                    <a:pt x="391381" y="195468"/>
                  </a:lnTo>
                  <a:lnTo>
                    <a:pt x="391315" y="189987"/>
                  </a:lnTo>
                  <a:lnTo>
                    <a:pt x="394776" y="180128"/>
                  </a:lnTo>
                  <a:lnTo>
                    <a:pt x="400864" y="174844"/>
                  </a:lnTo>
                  <a:lnTo>
                    <a:pt x="408327" y="172794"/>
                  </a:lnTo>
                  <a:lnTo>
                    <a:pt x="415915" y="172614"/>
                  </a:lnTo>
                  <a:lnTo>
                    <a:pt x="416025" y="170238"/>
                  </a:lnTo>
                  <a:lnTo>
                    <a:pt x="396580" y="169335"/>
                  </a:lnTo>
                  <a:lnTo>
                    <a:pt x="396466" y="171710"/>
                  </a:lnTo>
                  <a:lnTo>
                    <a:pt x="395370" y="176001"/>
                  </a:lnTo>
                  <a:lnTo>
                    <a:pt x="390355" y="181879"/>
                  </a:lnTo>
                  <a:lnTo>
                    <a:pt x="384335" y="187133"/>
                  </a:lnTo>
                  <a:lnTo>
                    <a:pt x="380262" y="189459"/>
                  </a:lnTo>
                  <a:lnTo>
                    <a:pt x="382717" y="193747"/>
                  </a:lnTo>
                  <a:lnTo>
                    <a:pt x="386367" y="205407"/>
                  </a:lnTo>
                  <a:lnTo>
                    <a:pt x="388501" y="207890"/>
                  </a:lnTo>
                  <a:lnTo>
                    <a:pt x="391321" y="209378"/>
                  </a:lnTo>
                  <a:lnTo>
                    <a:pt x="393504" y="212595"/>
                  </a:lnTo>
                  <a:lnTo>
                    <a:pt x="395321" y="216243"/>
                  </a:lnTo>
                  <a:lnTo>
                    <a:pt x="397108" y="218989"/>
                  </a:lnTo>
                  <a:lnTo>
                    <a:pt x="395983" y="219683"/>
                  </a:lnTo>
                  <a:lnTo>
                    <a:pt x="395103" y="220638"/>
                  </a:lnTo>
                  <a:lnTo>
                    <a:pt x="394048" y="221413"/>
                  </a:lnTo>
                  <a:lnTo>
                    <a:pt x="392575" y="221623"/>
                  </a:lnTo>
                  <a:lnTo>
                    <a:pt x="393819" y="224126"/>
                  </a:lnTo>
                  <a:lnTo>
                    <a:pt x="395516" y="225310"/>
                  </a:lnTo>
                  <a:lnTo>
                    <a:pt x="397106" y="225945"/>
                  </a:lnTo>
                  <a:lnTo>
                    <a:pt x="397988" y="226873"/>
                  </a:lnTo>
                  <a:lnTo>
                    <a:pt x="398403" y="229461"/>
                  </a:lnTo>
                  <a:lnTo>
                    <a:pt x="398868" y="237606"/>
                  </a:lnTo>
                  <a:lnTo>
                    <a:pt x="382438" y="232643"/>
                  </a:lnTo>
                  <a:lnTo>
                    <a:pt x="375590" y="228173"/>
                  </a:lnTo>
                  <a:lnTo>
                    <a:pt x="373631" y="229323"/>
                  </a:lnTo>
                  <a:lnTo>
                    <a:pt x="372445" y="231211"/>
                  </a:lnTo>
                  <a:lnTo>
                    <a:pt x="371318" y="233584"/>
                  </a:lnTo>
                  <a:lnTo>
                    <a:pt x="369516" y="236204"/>
                  </a:lnTo>
                  <a:lnTo>
                    <a:pt x="371734" y="237885"/>
                  </a:lnTo>
                  <a:lnTo>
                    <a:pt x="375986" y="239990"/>
                  </a:lnTo>
                  <a:lnTo>
                    <a:pt x="377716" y="241350"/>
                  </a:lnTo>
                  <a:lnTo>
                    <a:pt x="382025" y="250303"/>
                  </a:lnTo>
                  <a:lnTo>
                    <a:pt x="382739" y="252485"/>
                  </a:lnTo>
                  <a:lnTo>
                    <a:pt x="381525" y="255462"/>
                  </a:lnTo>
                  <a:lnTo>
                    <a:pt x="378653" y="257238"/>
                  </a:lnTo>
                  <a:lnTo>
                    <a:pt x="374979" y="257778"/>
                  </a:lnTo>
                  <a:lnTo>
                    <a:pt x="371394" y="257167"/>
                  </a:lnTo>
                  <a:lnTo>
                    <a:pt x="371265" y="259776"/>
                  </a:lnTo>
                  <a:lnTo>
                    <a:pt x="372770" y="259849"/>
                  </a:lnTo>
                  <a:lnTo>
                    <a:pt x="372653" y="262225"/>
                  </a:lnTo>
                  <a:lnTo>
                    <a:pt x="368156" y="261259"/>
                  </a:lnTo>
                  <a:lnTo>
                    <a:pt x="359048" y="253714"/>
                  </a:lnTo>
                  <a:lnTo>
                    <a:pt x="357499" y="256485"/>
                  </a:lnTo>
                  <a:lnTo>
                    <a:pt x="358563" y="257425"/>
                  </a:lnTo>
                  <a:lnTo>
                    <a:pt x="360115" y="260196"/>
                  </a:lnTo>
                  <a:lnTo>
                    <a:pt x="361417" y="261676"/>
                  </a:lnTo>
                  <a:lnTo>
                    <a:pt x="358980" y="265291"/>
                  </a:lnTo>
                  <a:lnTo>
                    <a:pt x="356619" y="267696"/>
                  </a:lnTo>
                  <a:lnTo>
                    <a:pt x="351032" y="271823"/>
                  </a:lnTo>
                  <a:lnTo>
                    <a:pt x="351971" y="272617"/>
                  </a:lnTo>
                  <a:lnTo>
                    <a:pt x="352906" y="273815"/>
                  </a:lnTo>
                  <a:lnTo>
                    <a:pt x="353797" y="274576"/>
                  </a:lnTo>
                  <a:lnTo>
                    <a:pt x="349369" y="278728"/>
                  </a:lnTo>
                  <a:lnTo>
                    <a:pt x="336462" y="286762"/>
                  </a:lnTo>
                  <a:lnTo>
                    <a:pt x="332515" y="290577"/>
                  </a:lnTo>
                  <a:lnTo>
                    <a:pt x="331065" y="289849"/>
                  </a:lnTo>
                  <a:lnTo>
                    <a:pt x="321355" y="276971"/>
                  </a:lnTo>
                  <a:lnTo>
                    <a:pt x="319438" y="275688"/>
                  </a:lnTo>
                  <a:lnTo>
                    <a:pt x="307967" y="259406"/>
                  </a:lnTo>
                  <a:lnTo>
                    <a:pt x="305841" y="257612"/>
                  </a:lnTo>
                  <a:lnTo>
                    <a:pt x="305072" y="254815"/>
                  </a:lnTo>
                  <a:lnTo>
                    <a:pt x="303743" y="251802"/>
                  </a:lnTo>
                  <a:lnTo>
                    <a:pt x="303779" y="249454"/>
                  </a:lnTo>
                  <a:lnTo>
                    <a:pt x="307005" y="248660"/>
                  </a:lnTo>
                  <a:lnTo>
                    <a:pt x="309506" y="249322"/>
                  </a:lnTo>
                  <a:lnTo>
                    <a:pt x="311114" y="251182"/>
                  </a:lnTo>
                  <a:lnTo>
                    <a:pt x="312035" y="254407"/>
                  </a:lnTo>
                  <a:lnTo>
                    <a:pt x="312575" y="259183"/>
                  </a:lnTo>
                  <a:lnTo>
                    <a:pt x="330056" y="244403"/>
                  </a:lnTo>
                  <a:lnTo>
                    <a:pt x="332824" y="240265"/>
                  </a:lnTo>
                  <a:lnTo>
                    <a:pt x="337487" y="238994"/>
                  </a:lnTo>
                  <a:lnTo>
                    <a:pt x="347232" y="239847"/>
                  </a:lnTo>
                  <a:lnTo>
                    <a:pt x="337806" y="231741"/>
                  </a:lnTo>
                  <a:lnTo>
                    <a:pt x="337942" y="229133"/>
                  </a:lnTo>
                  <a:lnTo>
                    <a:pt x="348587" y="223586"/>
                  </a:lnTo>
                  <a:lnTo>
                    <a:pt x="354723" y="222478"/>
                  </a:lnTo>
                  <a:lnTo>
                    <a:pt x="360699" y="224191"/>
                  </a:lnTo>
                  <a:lnTo>
                    <a:pt x="364514" y="227633"/>
                  </a:lnTo>
                  <a:lnTo>
                    <a:pt x="362662" y="225642"/>
                  </a:lnTo>
                  <a:lnTo>
                    <a:pt x="360781" y="223884"/>
                  </a:lnTo>
                  <a:lnTo>
                    <a:pt x="359221" y="222343"/>
                  </a:lnTo>
                  <a:lnTo>
                    <a:pt x="358599" y="221238"/>
                  </a:lnTo>
                  <a:lnTo>
                    <a:pt x="358077" y="219951"/>
                  </a:lnTo>
                  <a:lnTo>
                    <a:pt x="362022" y="217625"/>
                  </a:lnTo>
                  <a:lnTo>
                    <a:pt x="363638" y="217378"/>
                  </a:lnTo>
                  <a:lnTo>
                    <a:pt x="363769" y="214770"/>
                  </a:lnTo>
                  <a:lnTo>
                    <a:pt x="352020" y="214186"/>
                  </a:lnTo>
                  <a:lnTo>
                    <a:pt x="349305" y="212789"/>
                  </a:lnTo>
                  <a:lnTo>
                    <a:pt x="344282" y="206978"/>
                  </a:lnTo>
                  <a:lnTo>
                    <a:pt x="341298" y="205565"/>
                  </a:lnTo>
                  <a:lnTo>
                    <a:pt x="329585" y="205524"/>
                  </a:lnTo>
                  <a:lnTo>
                    <a:pt x="324321" y="203196"/>
                  </a:lnTo>
                  <a:lnTo>
                    <a:pt x="322963" y="197039"/>
                  </a:lnTo>
                  <a:lnTo>
                    <a:pt x="320278" y="199077"/>
                  </a:lnTo>
                  <a:lnTo>
                    <a:pt x="318552" y="198924"/>
                  </a:lnTo>
                  <a:lnTo>
                    <a:pt x="309445" y="191095"/>
                  </a:lnTo>
                  <a:lnTo>
                    <a:pt x="312854" y="188504"/>
                  </a:lnTo>
                  <a:lnTo>
                    <a:pt x="315422" y="185402"/>
                  </a:lnTo>
                  <a:lnTo>
                    <a:pt x="318186" y="183259"/>
                  </a:lnTo>
                  <a:lnTo>
                    <a:pt x="322190" y="183672"/>
                  </a:lnTo>
                  <a:lnTo>
                    <a:pt x="322315" y="181328"/>
                  </a:lnTo>
                  <a:lnTo>
                    <a:pt x="321751" y="180443"/>
                  </a:lnTo>
                  <a:lnTo>
                    <a:pt x="321623" y="180077"/>
                  </a:lnTo>
                  <a:lnTo>
                    <a:pt x="321549" y="179592"/>
                  </a:lnTo>
                  <a:lnTo>
                    <a:pt x="321192" y="178420"/>
                  </a:lnTo>
                  <a:lnTo>
                    <a:pt x="327370" y="177762"/>
                  </a:lnTo>
                  <a:lnTo>
                    <a:pt x="334098" y="175729"/>
                  </a:lnTo>
                  <a:lnTo>
                    <a:pt x="346707" y="169276"/>
                  </a:lnTo>
                  <a:lnTo>
                    <a:pt x="327425" y="173609"/>
                  </a:lnTo>
                  <a:lnTo>
                    <a:pt x="321470" y="173204"/>
                  </a:lnTo>
                  <a:lnTo>
                    <a:pt x="322586" y="169760"/>
                  </a:lnTo>
                  <a:lnTo>
                    <a:pt x="324270" y="167996"/>
                  </a:lnTo>
                  <a:lnTo>
                    <a:pt x="326358" y="167622"/>
                  </a:lnTo>
                  <a:lnTo>
                    <a:pt x="328652" y="168349"/>
                  </a:lnTo>
                  <a:lnTo>
                    <a:pt x="328778" y="165974"/>
                  </a:lnTo>
                  <a:lnTo>
                    <a:pt x="323150" y="165680"/>
                  </a:lnTo>
                  <a:lnTo>
                    <a:pt x="325057" y="164519"/>
                  </a:lnTo>
                  <a:lnTo>
                    <a:pt x="326717" y="162877"/>
                  </a:lnTo>
                  <a:lnTo>
                    <a:pt x="328109" y="160708"/>
                  </a:lnTo>
                  <a:lnTo>
                    <a:pt x="329202" y="157949"/>
                  </a:lnTo>
                  <a:lnTo>
                    <a:pt x="320088" y="163917"/>
                  </a:lnTo>
                  <a:lnTo>
                    <a:pt x="318452" y="164017"/>
                  </a:lnTo>
                  <a:lnTo>
                    <a:pt x="313201" y="151284"/>
                  </a:lnTo>
                  <a:lnTo>
                    <a:pt x="311719" y="149182"/>
                  </a:lnTo>
                  <a:lnTo>
                    <a:pt x="313024" y="144690"/>
                  </a:lnTo>
                  <a:lnTo>
                    <a:pt x="311974" y="142953"/>
                  </a:lnTo>
                  <a:lnTo>
                    <a:pt x="310256" y="142020"/>
                  </a:lnTo>
                  <a:lnTo>
                    <a:pt x="309457" y="139922"/>
                  </a:lnTo>
                  <a:lnTo>
                    <a:pt x="310336" y="135112"/>
                  </a:lnTo>
                  <a:lnTo>
                    <a:pt x="312789" y="131881"/>
                  </a:lnTo>
                  <a:lnTo>
                    <a:pt x="312863" y="128102"/>
                  </a:lnTo>
                  <a:lnTo>
                    <a:pt x="314635" y="127542"/>
                  </a:lnTo>
                  <a:lnTo>
                    <a:pt x="315487" y="126686"/>
                  </a:lnTo>
                  <a:lnTo>
                    <a:pt x="316069" y="125330"/>
                  </a:lnTo>
                  <a:lnTo>
                    <a:pt x="317114" y="123330"/>
                  </a:lnTo>
                  <a:lnTo>
                    <a:pt x="315692" y="122601"/>
                  </a:lnTo>
                  <a:lnTo>
                    <a:pt x="314333" y="120988"/>
                  </a:lnTo>
                  <a:lnTo>
                    <a:pt x="313288" y="120278"/>
                  </a:lnTo>
                  <a:lnTo>
                    <a:pt x="313416" y="117919"/>
                  </a:lnTo>
                  <a:lnTo>
                    <a:pt x="328575" y="117722"/>
                  </a:lnTo>
                  <a:lnTo>
                    <a:pt x="332798" y="116107"/>
                  </a:lnTo>
                  <a:lnTo>
                    <a:pt x="327651" y="113347"/>
                  </a:lnTo>
                  <a:lnTo>
                    <a:pt x="325650" y="111172"/>
                  </a:lnTo>
                  <a:lnTo>
                    <a:pt x="325035" y="106548"/>
                  </a:lnTo>
                  <a:lnTo>
                    <a:pt x="325720" y="101882"/>
                  </a:lnTo>
                  <a:lnTo>
                    <a:pt x="327042" y="99383"/>
                  </a:lnTo>
                  <a:lnTo>
                    <a:pt x="331168" y="94882"/>
                  </a:lnTo>
                  <a:lnTo>
                    <a:pt x="334011" y="97365"/>
                  </a:lnTo>
                  <a:lnTo>
                    <a:pt x="341587" y="102052"/>
                  </a:lnTo>
                  <a:lnTo>
                    <a:pt x="343145" y="102365"/>
                  </a:lnTo>
                  <a:lnTo>
                    <a:pt x="344709" y="101138"/>
                  </a:lnTo>
                  <a:lnTo>
                    <a:pt x="355438" y="106804"/>
                  </a:lnTo>
                  <a:lnTo>
                    <a:pt x="355304" y="109412"/>
                  </a:lnTo>
                  <a:lnTo>
                    <a:pt x="349344" y="108705"/>
                  </a:lnTo>
                  <a:lnTo>
                    <a:pt x="350407" y="114176"/>
                  </a:lnTo>
                  <a:lnTo>
                    <a:pt x="354247" y="120907"/>
                  </a:lnTo>
                  <a:lnTo>
                    <a:pt x="356628" y="123954"/>
                  </a:lnTo>
                  <a:lnTo>
                    <a:pt x="356074" y="129810"/>
                  </a:lnTo>
                  <a:lnTo>
                    <a:pt x="357742" y="137862"/>
                  </a:lnTo>
                  <a:lnTo>
                    <a:pt x="360433" y="145264"/>
                  </a:lnTo>
                  <a:lnTo>
                    <a:pt x="362914" y="149216"/>
                  </a:lnTo>
                  <a:lnTo>
                    <a:pt x="362718" y="145767"/>
                  </a:lnTo>
                  <a:lnTo>
                    <a:pt x="362735" y="143651"/>
                  </a:lnTo>
                  <a:lnTo>
                    <a:pt x="363453" y="138551"/>
                  </a:lnTo>
                  <a:lnTo>
                    <a:pt x="362165" y="136059"/>
                  </a:lnTo>
                  <a:lnTo>
                    <a:pt x="359487" y="129248"/>
                  </a:lnTo>
                  <a:lnTo>
                    <a:pt x="358481" y="125462"/>
                  </a:lnTo>
                  <a:lnTo>
                    <a:pt x="360570" y="124119"/>
                  </a:lnTo>
                  <a:lnTo>
                    <a:pt x="361430" y="121407"/>
                  </a:lnTo>
                  <a:lnTo>
                    <a:pt x="361819" y="118765"/>
                  </a:lnTo>
                  <a:lnTo>
                    <a:pt x="362517" y="117618"/>
                  </a:lnTo>
                  <a:lnTo>
                    <a:pt x="371572" y="115792"/>
                  </a:lnTo>
                  <a:lnTo>
                    <a:pt x="373643" y="114245"/>
                  </a:lnTo>
                  <a:lnTo>
                    <a:pt x="377058" y="113385"/>
                  </a:lnTo>
                  <a:lnTo>
                    <a:pt x="382135" y="116261"/>
                  </a:lnTo>
                  <a:lnTo>
                    <a:pt x="386738" y="121292"/>
                  </a:lnTo>
                  <a:lnTo>
                    <a:pt x="388851" y="126949"/>
                  </a:lnTo>
                  <a:lnTo>
                    <a:pt x="394737" y="119185"/>
                  </a:lnTo>
                  <a:lnTo>
                    <a:pt x="389863" y="115792"/>
                  </a:lnTo>
                  <a:lnTo>
                    <a:pt x="388245" y="113646"/>
                  </a:lnTo>
                  <a:lnTo>
                    <a:pt x="387573" y="111279"/>
                  </a:lnTo>
                  <a:lnTo>
                    <a:pt x="386711" y="105276"/>
                  </a:lnTo>
                  <a:lnTo>
                    <a:pt x="385883" y="103089"/>
                  </a:lnTo>
                  <a:lnTo>
                    <a:pt x="384729" y="102552"/>
                  </a:lnTo>
                  <a:lnTo>
                    <a:pt x="381719" y="103247"/>
                  </a:lnTo>
                  <a:lnTo>
                    <a:pt x="380526" y="102830"/>
                  </a:lnTo>
                  <a:lnTo>
                    <a:pt x="380198" y="101833"/>
                  </a:lnTo>
                  <a:lnTo>
                    <a:pt x="379600" y="98349"/>
                  </a:lnTo>
                  <a:lnTo>
                    <a:pt x="379308" y="97308"/>
                  </a:lnTo>
                  <a:lnTo>
                    <a:pt x="377174" y="93749"/>
                  </a:lnTo>
                  <a:lnTo>
                    <a:pt x="376271" y="91807"/>
                  </a:lnTo>
                  <a:lnTo>
                    <a:pt x="375550" y="89514"/>
                  </a:lnTo>
                  <a:lnTo>
                    <a:pt x="376608" y="88819"/>
                  </a:lnTo>
                  <a:lnTo>
                    <a:pt x="377464" y="87927"/>
                  </a:lnTo>
                  <a:lnTo>
                    <a:pt x="378449" y="87213"/>
                  </a:lnTo>
                  <a:lnTo>
                    <a:pt x="379813" y="87124"/>
                  </a:lnTo>
                  <a:lnTo>
                    <a:pt x="378905" y="84309"/>
                  </a:lnTo>
                  <a:lnTo>
                    <a:pt x="378047" y="82462"/>
                  </a:lnTo>
                  <a:lnTo>
                    <a:pt x="376772" y="81590"/>
                  </a:lnTo>
                  <a:lnTo>
                    <a:pt x="374585" y="81623"/>
                  </a:lnTo>
                  <a:lnTo>
                    <a:pt x="391684" y="67714"/>
                  </a:lnTo>
                  <a:lnTo>
                    <a:pt x="396272" y="61802"/>
                  </a:lnTo>
                  <a:lnTo>
                    <a:pt x="398649" y="63362"/>
                  </a:lnTo>
                  <a:lnTo>
                    <a:pt x="400180" y="62454"/>
                  </a:lnTo>
                  <a:lnTo>
                    <a:pt x="401525" y="60650"/>
                  </a:lnTo>
                  <a:lnTo>
                    <a:pt x="403247" y="59518"/>
                  </a:lnTo>
                  <a:lnTo>
                    <a:pt x="410071" y="59837"/>
                  </a:lnTo>
                  <a:lnTo>
                    <a:pt x="415487" y="58470"/>
                  </a:lnTo>
                  <a:lnTo>
                    <a:pt x="428462" y="52249"/>
                  </a:lnTo>
                  <a:lnTo>
                    <a:pt x="430337" y="50716"/>
                  </a:lnTo>
                  <a:lnTo>
                    <a:pt x="435686" y="44079"/>
                  </a:lnTo>
                  <a:lnTo>
                    <a:pt x="472451" y="17985"/>
                  </a:lnTo>
                  <a:lnTo>
                    <a:pt x="482853" y="5399"/>
                  </a:lnTo>
                  <a:close/>
                </a:path>
              </a:pathLst>
            </a:custGeom>
            <a:grpFill/>
            <a:ln w="3175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471FA4-7D13-2E14-D2D9-1CDCCA07C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303" y="316645"/>
            <a:ext cx="11630264" cy="521084"/>
          </a:xfrm>
        </p:spPr>
        <p:txBody>
          <a:bodyPr>
            <a:normAutofit fontScale="90000"/>
          </a:bodyPr>
          <a:lstStyle/>
          <a:p>
            <a:r>
              <a:rPr lang="en-GB" sz="4400">
                <a:latin typeface="Arial"/>
                <a:cs typeface="Arial"/>
              </a:rPr>
              <a:t>Our purpose</a:t>
            </a:r>
            <a:endParaRPr lang="en-GB" sz="4400" b="0">
              <a:latin typeface="Arial"/>
              <a:cs typeface="Arial"/>
            </a:endParaRPr>
          </a:p>
          <a:p>
            <a:endParaRPr lang="en-GB">
              <a:latin typeface="Arial"/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E6C0A9-6E0D-A9FD-C50D-DEDFD402AF9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87061" y="1603237"/>
            <a:ext cx="9791364" cy="1041679"/>
          </a:xfrm>
        </p:spPr>
        <p:txBody>
          <a:bodyPr vert="horz" lIns="91440" tIns="0" rIns="91440" bIns="45720" rtlCol="0" anchor="t"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3600" spc="-150">
                <a:latin typeface="Arial"/>
                <a:cs typeface="Arial"/>
              </a:rPr>
              <a:t>As Scotland’s </a:t>
            </a:r>
            <a:r>
              <a:rPr lang="en-GB" sz="3600" b="1" spc="-150">
                <a:solidFill>
                  <a:schemeClr val="tx2"/>
                </a:solidFill>
                <a:latin typeface="Arial"/>
                <a:cs typeface="Arial"/>
              </a:rPr>
              <a:t>national</a:t>
            </a:r>
            <a:r>
              <a:rPr lang="en-GB" sz="3600" spc="-15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GB" sz="3600" spc="-150">
                <a:latin typeface="Arial"/>
                <a:cs typeface="Arial"/>
              </a:rPr>
              <a:t>public health body, </a:t>
            </a:r>
            <a:endParaRPr lang="en-GB" sz="3600" spc="-150"/>
          </a:p>
          <a:p>
            <a:pPr marL="0" indent="0">
              <a:spcBef>
                <a:spcPts val="0"/>
              </a:spcBef>
              <a:buNone/>
            </a:pPr>
            <a:r>
              <a:rPr lang="en-GB" sz="3600" spc="-150">
                <a:latin typeface="Arial"/>
                <a:cs typeface="Arial"/>
              </a:rPr>
              <a:t>Public Health Scotland leads and supports work to </a:t>
            </a:r>
            <a:endParaRPr lang="en-GB" sz="3600" spc="-15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EC66874-BBC5-FA29-A7D1-C29903FF09A7}"/>
              </a:ext>
            </a:extLst>
          </p:cNvPr>
          <p:cNvGrpSpPr/>
          <p:nvPr/>
        </p:nvGrpSpPr>
        <p:grpSpPr>
          <a:xfrm>
            <a:off x="491140" y="2919400"/>
            <a:ext cx="11429025" cy="3130671"/>
            <a:chOff x="461945" y="3196763"/>
            <a:chExt cx="11429025" cy="2893100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A92167C-08A2-5127-D3C7-5701C99092C4}"/>
                </a:ext>
              </a:extLst>
            </p:cNvPr>
            <p:cNvSpPr txBox="1"/>
            <p:nvPr/>
          </p:nvSpPr>
          <p:spPr>
            <a:xfrm>
              <a:off x="461945" y="3196763"/>
              <a:ext cx="3746104" cy="28931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endParaRPr lang="en-GB" sz="2000" b="1" spc="-15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algn="ctr"/>
              <a:r>
                <a:rPr lang="en-GB" sz="2800" b="1" spc="-150">
                  <a:solidFill>
                    <a:schemeClr val="bg1"/>
                  </a:solidFill>
                  <a:latin typeface="Arial"/>
                  <a:cs typeface="Arial"/>
                </a:rPr>
                <a:t>Prevent disease</a:t>
              </a:r>
              <a:endParaRPr lang="en-GB" sz="2800" spc="-15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algn="ctr"/>
              <a:endParaRPr lang="en-GB" sz="1400" spc="-15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marL="342900"/>
              <a:r>
                <a:rPr lang="en-GB" sz="2400">
                  <a:solidFill>
                    <a:schemeClr val="bg1"/>
                  </a:solidFill>
                  <a:latin typeface="Arial"/>
                  <a:cs typeface="Arial"/>
                </a:rPr>
                <a:t>by providing vaccines and reducing the spread of infectious diseases</a:t>
              </a:r>
            </a:p>
            <a:p>
              <a:pPr marL="342900"/>
              <a:endParaRPr lang="en-GB" sz="200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7C2FC41A-4A5E-EEDD-A6ED-5D4AD524F596}"/>
                </a:ext>
              </a:extLst>
            </p:cNvPr>
            <p:cNvSpPr txBox="1"/>
            <p:nvPr/>
          </p:nvSpPr>
          <p:spPr>
            <a:xfrm>
              <a:off x="4469554" y="3196763"/>
              <a:ext cx="3638781" cy="249299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  <a:latin typeface="Calibri" panose="020F0502020204030204"/>
                <a:cs typeface="Calibri" panose="020F0502020204030204"/>
              </a:endParaRPr>
            </a:p>
            <a:p>
              <a:pPr algn="ctr"/>
              <a:r>
                <a:rPr lang="en-GB" sz="2800" b="1" spc="-150" dirty="0">
                  <a:solidFill>
                    <a:schemeClr val="bg1"/>
                  </a:solidFill>
                  <a:latin typeface="Arial"/>
                  <a:cs typeface="Arial"/>
                </a:rPr>
                <a:t>Prolong healthy life</a:t>
              </a:r>
              <a:r>
                <a:rPr lang="en-GB" sz="2800" spc="-150" dirty="0">
                  <a:solidFill>
                    <a:schemeClr val="bg1"/>
                  </a:solidFill>
                  <a:latin typeface="Arial"/>
                  <a:cs typeface="Arial"/>
                </a:rPr>
                <a:t> </a:t>
              </a:r>
              <a:endParaRPr lang="en-US" dirty="0">
                <a:solidFill>
                  <a:schemeClr val="bg1"/>
                </a:solidFill>
                <a:cs typeface="Calibri"/>
              </a:endParaRPr>
            </a:p>
            <a:p>
              <a:pPr algn="ctr"/>
              <a:endParaRPr lang="en-GB" sz="1400" dirty="0">
                <a:cs typeface="Calibri"/>
              </a:endParaRPr>
            </a:p>
            <a:p>
              <a:pPr marL="171450"/>
              <a:r>
                <a:rPr lang="en-GB" sz="2400" dirty="0">
                  <a:solidFill>
                    <a:schemeClr val="bg1"/>
                  </a:solidFill>
                  <a:latin typeface="Arial"/>
                  <a:cs typeface="Arial"/>
                </a:rPr>
                <a:t>supporting access to high quality healthcare</a:t>
              </a:r>
            </a:p>
            <a:p>
              <a:endParaRPr lang="en-GB" sz="2400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endParaRPr lang="en-GB" sz="24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152E7FC-0647-C69B-579E-5AB0B50F856B}"/>
                </a:ext>
              </a:extLst>
            </p:cNvPr>
            <p:cNvSpPr txBox="1"/>
            <p:nvPr/>
          </p:nvSpPr>
          <p:spPr>
            <a:xfrm>
              <a:off x="8262921" y="3196763"/>
              <a:ext cx="3628049" cy="289310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endParaRPr lang="en-GB" sz="2000" b="1" spc="-15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algn="ctr"/>
              <a:r>
                <a:rPr lang="en-GB" sz="2800" b="1" spc="-150">
                  <a:solidFill>
                    <a:schemeClr val="bg1"/>
                  </a:solidFill>
                  <a:latin typeface="Arial"/>
                  <a:cs typeface="Arial"/>
                </a:rPr>
                <a:t>Promote health</a:t>
              </a:r>
              <a:r>
                <a:rPr lang="en-GB" sz="2800" spc="-150">
                  <a:solidFill>
                    <a:schemeClr val="bg1"/>
                  </a:solidFill>
                  <a:latin typeface="Arial"/>
                  <a:cs typeface="Arial"/>
                </a:rPr>
                <a:t> </a:t>
              </a:r>
            </a:p>
            <a:p>
              <a:endParaRPr lang="en-GB" sz="140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marL="342900"/>
              <a:r>
                <a:rPr lang="en-GB" sz="2400">
                  <a:solidFill>
                    <a:schemeClr val="bg1"/>
                  </a:solidFill>
                  <a:latin typeface="Arial"/>
                  <a:cs typeface="Arial"/>
                </a:rPr>
                <a:t>by strengthening the building blocks of health for all</a:t>
              </a:r>
            </a:p>
            <a:p>
              <a:pPr marL="342900"/>
              <a:endParaRPr lang="en-GB" sz="240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marL="342900"/>
              <a:endParaRPr lang="en-GB" sz="240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05064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FD37BFF-2512-469B-B3A5-6FE0EA09E28C}"/>
              </a:ext>
            </a:extLst>
          </p:cNvPr>
          <p:cNvSpPr txBox="1">
            <a:spLocks/>
          </p:cNvSpPr>
          <p:nvPr/>
        </p:nvSpPr>
        <p:spPr>
          <a:xfrm>
            <a:off x="711468" y="3500022"/>
            <a:ext cx="10718531" cy="2314852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dirty="0"/>
              <a:t>Consistently around 1.5/1.6 million attendances each year</a:t>
            </a:r>
          </a:p>
          <a:p>
            <a:pPr>
              <a:lnSpc>
                <a:spcPct val="150000"/>
              </a:lnSpc>
            </a:pPr>
            <a:r>
              <a:rPr lang="en-GB" dirty="0"/>
              <a:t>Proportion of attendances from injury is unknown, as data quality  is poor</a:t>
            </a:r>
          </a:p>
          <a:p>
            <a:pPr marL="0" indent="0">
              <a:buNone/>
            </a:pPr>
            <a:endParaRPr lang="en-GB" i="1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en-GB" sz="3300" dirty="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1F96B8D-4DD5-4067-1F0E-C08ADC1B6D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3574664"/>
              </p:ext>
            </p:extLst>
          </p:nvPr>
        </p:nvGraphicFramePr>
        <p:xfrm>
          <a:off x="357374" y="328422"/>
          <a:ext cx="11194556" cy="30295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387611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0D83E8-6E32-3002-1CD9-B9BF69DC1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49" y="365128"/>
            <a:ext cx="11134725" cy="1325563"/>
          </a:xfrm>
        </p:spPr>
        <p:txBody>
          <a:bodyPr/>
          <a:lstStyle/>
          <a:p>
            <a:r>
              <a:rPr lang="en-GB" dirty="0"/>
              <a:t>Accident and Emergency (A&amp;E) data issues &amp; opportun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712F58-D59E-C0D7-2ABE-1BCB268E6C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8" y="1438275"/>
            <a:ext cx="10115551" cy="4533900"/>
          </a:xfrm>
        </p:spPr>
        <p:txBody>
          <a:bodyPr>
            <a:normAutofit/>
          </a:bodyPr>
          <a:lstStyle/>
          <a:p>
            <a:r>
              <a:rPr lang="en-GB" sz="2600" b="1" dirty="0"/>
              <a:t>Issues</a:t>
            </a:r>
          </a:p>
          <a:p>
            <a:r>
              <a:rPr lang="en-GB" dirty="0"/>
              <a:t>Different coding systems used by different hospitals</a:t>
            </a:r>
          </a:p>
          <a:p>
            <a:r>
              <a:rPr lang="en-GB" dirty="0"/>
              <a:t>Coding usually carried out by front line staff instead of dedicated coders</a:t>
            </a:r>
          </a:p>
          <a:p>
            <a:r>
              <a:rPr lang="en-GB" dirty="0"/>
              <a:t>Data quality too poor for PHS to be able to use to publish statistics</a:t>
            </a:r>
          </a:p>
          <a:p>
            <a:endParaRPr lang="en-GB" dirty="0"/>
          </a:p>
          <a:p>
            <a:r>
              <a:rPr lang="en-GB" b="1" dirty="0"/>
              <a:t>Opportunities</a:t>
            </a:r>
          </a:p>
          <a:p>
            <a:r>
              <a:rPr lang="en-GB" dirty="0"/>
              <a:t>Public Health Scotland have funded 3 very short term pilots to look at improving coding in 3 emergency departments</a:t>
            </a:r>
          </a:p>
          <a:p>
            <a:endParaRPr lang="en-GB" dirty="0"/>
          </a:p>
          <a:p>
            <a:r>
              <a:rPr lang="en-GB" dirty="0"/>
              <a:t>If coding improves then Scotland might use A&amp;E data for preven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F79B46-CE0F-A73E-A3A7-2EFD86C053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201400" y="1825628"/>
            <a:ext cx="152400" cy="4009567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30265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2B1409-C38E-704A-F5E1-2048BB78F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orities for improved surveillance</a:t>
            </a:r>
            <a:br>
              <a:rPr lang="en-GB" dirty="0"/>
            </a:b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419CF-FFA7-EB9D-72B5-882404AA36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409701"/>
            <a:ext cx="6848166" cy="5343524"/>
          </a:xfrm>
        </p:spPr>
        <p:txBody>
          <a:bodyPr>
            <a:normAutofit fontScale="85000" lnSpcReduction="20000"/>
          </a:bodyPr>
          <a:lstStyle/>
          <a:p>
            <a:r>
              <a:rPr lang="en-GB" sz="3000" b="1" dirty="0"/>
              <a:t>A&amp;E Data</a:t>
            </a:r>
          </a:p>
          <a:p>
            <a:endParaRPr lang="en-GB" dirty="0"/>
          </a:p>
          <a:p>
            <a:r>
              <a:rPr lang="en-GB" sz="2600" dirty="0"/>
              <a:t>Needs investment to  improve coding so  data is usable</a:t>
            </a:r>
          </a:p>
          <a:p>
            <a:endParaRPr lang="en-GB" sz="2600" dirty="0"/>
          </a:p>
          <a:p>
            <a:r>
              <a:rPr lang="en-GB" sz="2600" dirty="0"/>
              <a:t>Will enable targeted prevention  </a:t>
            </a:r>
          </a:p>
          <a:p>
            <a:endParaRPr lang="en-GB" sz="2600" dirty="0"/>
          </a:p>
          <a:p>
            <a:r>
              <a:rPr lang="en-GB" sz="2600" dirty="0"/>
              <a:t>Is likely to be an invest to save investment for the public sector overall</a:t>
            </a:r>
          </a:p>
          <a:p>
            <a:endParaRPr lang="en-GB" sz="2600" dirty="0"/>
          </a:p>
          <a:p>
            <a:r>
              <a:rPr lang="en-GB" sz="2600" dirty="0"/>
              <a:t>Is likely to reduce hospital pressures and reduce injury in Scotland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r>
              <a:rPr lang="en-GB" sz="900" dirty="0"/>
              <a:t>https://www.google.com/search?sca_esv=c5c757c13b9f06cb&amp;rlz=1C1GCEB_enGB1047GB1047&amp;sxsrf=ACQVn08Zq6tWbifMmml-uVYo7JMh6CugJg:1707167096335&amp;q=child+injured+from+blinds&amp;tbm=isch&amp;source=lnms&amp;sa=X&amp;ved=2ahUKEwiVoOWCjZWEAxUe9wIHHWcxBtYQ0pQJegQIDBAB&amp;biw=853&amp;bih=373&amp;dpr=2.25#imgrc=VRZXUA8N28DXiM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ECE5566-5381-9BC5-8164-47C98A8BDC3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7686365" y="161925"/>
            <a:ext cx="4138604" cy="6225152"/>
          </a:xfrm>
        </p:spPr>
      </p:pic>
    </p:spTree>
    <p:extLst>
      <p:ext uri="{BB962C8B-B14F-4D97-AF65-F5344CB8AC3E}">
        <p14:creationId xmlns:p14="http://schemas.microsoft.com/office/powerpoint/2010/main" val="31404395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990F86-6DF3-ADA2-7882-29CB96DA3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289DF8-FB55-AFD2-FE40-C514F5A5E9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Thank you for listening</a:t>
            </a:r>
          </a:p>
          <a:p>
            <a:r>
              <a:rPr lang="en-GB" dirty="0"/>
              <a:t>Any queries or suggestions for improvement or work you may wish done please contact</a:t>
            </a:r>
          </a:p>
          <a:p>
            <a:r>
              <a:rPr lang="en-GB" dirty="0" err="1">
                <a:hlinkClick r:id="rId2"/>
              </a:rPr>
              <a:t>Stephen.bridgman@phs.scot</a:t>
            </a:r>
            <a:r>
              <a:rPr lang="en-GB" dirty="0"/>
              <a:t>,  Consultant in Public Health, Public </a:t>
            </a:r>
            <a:r>
              <a:rPr lang="en-GB"/>
              <a:t>Health Scotland</a:t>
            </a: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99400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0689E2-3066-BE8E-AF2D-293E858A9C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endix 1 – Injury type codes  for hospital admission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38B60E8-11AC-4C61-1D10-239A32F8FE7E}"/>
              </a:ext>
            </a:extLst>
          </p:cNvPr>
          <p:cNvGraphicFramePr>
            <a:graphicFrameLocks noGrp="1"/>
          </p:cNvGraphicFramePr>
          <p:nvPr/>
        </p:nvGraphicFramePr>
        <p:xfrm>
          <a:off x="1016000" y="4808223"/>
          <a:ext cx="2698750" cy="889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0">
                  <a:extLst>
                    <a:ext uri="{9D8B030D-6E8A-4147-A177-3AD203B41FA5}">
                      <a16:colId xmlns:a16="http://schemas.microsoft.com/office/drawing/2014/main" val="606318107"/>
                    </a:ext>
                  </a:extLst>
                </a:gridCol>
              </a:tblGrid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Emergency Admission Type*</a:t>
                      </a:r>
                      <a:endParaRPr lang="en-GB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192941638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32 - Patient injury - road traffic accident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48037671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33 - Patient injury - home incident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372134612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34 - Patient injury - incident at work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288822249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dirty="0">
                          <a:effectLst/>
                        </a:rPr>
                        <a:t>35 - Patient injury - other injury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764656537"/>
                  </a:ext>
                </a:extLst>
              </a:tr>
            </a:tbl>
          </a:graphicData>
        </a:graphic>
      </p:graphicFrame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9E5E1067-104D-C05A-5CE3-0E4AF1CEF337}"/>
              </a:ext>
            </a:extLst>
          </p:cNvPr>
          <p:cNvSpPr txBox="1">
            <a:spLocks/>
          </p:cNvSpPr>
          <p:nvPr/>
        </p:nvSpPr>
        <p:spPr>
          <a:xfrm>
            <a:off x="660400" y="1830178"/>
            <a:ext cx="10515600" cy="4164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aphicFrame>
        <p:nvGraphicFramePr>
          <p:cNvPr id="7" name="Picture Placeholder 6">
            <a:extLst>
              <a:ext uri="{FF2B5EF4-FFF2-40B4-BE49-F238E27FC236}">
                <a16:creationId xmlns:a16="http://schemas.microsoft.com/office/drawing/2014/main" id="{0F5D06C8-8B02-06EF-DD29-97471A20DE88}"/>
              </a:ext>
            </a:extLst>
          </p:cNvPr>
          <p:cNvGraphicFramePr>
            <a:graphicFrameLocks noGrp="1" noChangeAspect="1"/>
          </p:cNvGraphicFramePr>
          <p:nvPr>
            <p:ph type="pic" idx="1"/>
            <p:extLst>
              <p:ext uri="{D42A27DB-BD31-4B8C-83A1-F6EECF244321}">
                <p14:modId xmlns:p14="http://schemas.microsoft.com/office/powerpoint/2010/main" val="4198912969"/>
              </p:ext>
            </p:extLst>
          </p:nvPr>
        </p:nvGraphicFramePr>
        <p:xfrm>
          <a:off x="633155" y="1830178"/>
          <a:ext cx="10311070" cy="26808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9067852" imgH="2495481" progId="Excel.Sheet.12">
                  <p:embed/>
                </p:oleObj>
              </mc:Choice>
              <mc:Fallback>
                <p:oleObj name="Worksheet" r:id="rId2" imgW="9067852" imgH="2495481" progId="Excel.Sheet.12">
                  <p:embed/>
                  <p:pic>
                    <p:nvPicPr>
                      <p:cNvPr id="7" name="Picture Placeholder 6">
                        <a:extLst>
                          <a:ext uri="{FF2B5EF4-FFF2-40B4-BE49-F238E27FC236}">
                            <a16:creationId xmlns:a16="http://schemas.microsoft.com/office/drawing/2014/main" id="{0F5D06C8-8B02-06EF-DD29-97471A20D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633155" y="1830178"/>
                        <a:ext cx="10311070" cy="26808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574008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72B71-1571-37F1-01C0-07BE561E4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690691"/>
          </a:xfrm>
        </p:spPr>
        <p:txBody>
          <a:bodyPr/>
          <a:lstStyle/>
          <a:p>
            <a:r>
              <a:rPr lang="en-GB" sz="3000" dirty="0">
                <a:ea typeface="+mj-lt"/>
                <a:cs typeface="+mj-lt"/>
              </a:rPr>
              <a:t> </a:t>
            </a:r>
            <a:r>
              <a:rPr lang="en-GB" sz="2800" dirty="0">
                <a:ea typeface="+mj-lt"/>
                <a:cs typeface="+mj-lt"/>
              </a:rPr>
              <a:t>Long-term investment in prevention: every sector has a role</a:t>
            </a:r>
            <a:endParaRPr lang="en-US" sz="2800" dirty="0"/>
          </a:p>
        </p:txBody>
      </p:sp>
      <p:graphicFrame>
        <p:nvGraphicFramePr>
          <p:cNvPr id="4" name="Diagram 4">
            <a:extLst>
              <a:ext uri="{FF2B5EF4-FFF2-40B4-BE49-F238E27FC236}">
                <a16:creationId xmlns:a16="http://schemas.microsoft.com/office/drawing/2014/main" id="{DD5AEAA9-9829-CCB7-9CF3-4DC58B6BFCA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04800" y="1022350"/>
          <a:ext cx="11622088" cy="51546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9879630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4DAE8-7D26-FC47-E153-67C7521B7A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1303"/>
            <a:ext cx="10515600" cy="1325563"/>
          </a:xfrm>
        </p:spPr>
        <p:txBody>
          <a:bodyPr/>
          <a:lstStyle/>
          <a:p>
            <a:r>
              <a:rPr lang="en-GB" dirty="0"/>
              <a:t>Outline of Tal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3FE5C7-A4DA-294F-92E1-F0BF488C83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690691"/>
            <a:ext cx="5156200" cy="4525551"/>
          </a:xfrm>
        </p:spPr>
        <p:txBody>
          <a:bodyPr>
            <a:normAutofit/>
          </a:bodyPr>
          <a:lstStyle/>
          <a:p>
            <a:r>
              <a:rPr lang="en-GB" dirty="0"/>
              <a:t>Injury surveillance </a:t>
            </a:r>
          </a:p>
          <a:p>
            <a:pPr lvl="1"/>
            <a:r>
              <a:rPr lang="en-GB" dirty="0"/>
              <a:t>What it is and why is it important?</a:t>
            </a:r>
          </a:p>
          <a:p>
            <a:pPr lvl="1"/>
            <a:r>
              <a:rPr lang="en-GB" dirty="0"/>
              <a:t>What is clinical coding?</a:t>
            </a:r>
          </a:p>
          <a:p>
            <a:pPr lvl="2"/>
            <a:r>
              <a:rPr lang="en-GB" dirty="0"/>
              <a:t>ICD coding</a:t>
            </a:r>
          </a:p>
          <a:p>
            <a:pPr lvl="1"/>
            <a:r>
              <a:rPr lang="en-GB" dirty="0"/>
              <a:t>What is coded data used for</a:t>
            </a:r>
          </a:p>
          <a:p>
            <a:r>
              <a:rPr lang="en-GB" dirty="0"/>
              <a:t>Available Health datasets</a:t>
            </a:r>
          </a:p>
          <a:p>
            <a:r>
              <a:rPr lang="en-GB" dirty="0"/>
              <a:t>PHS publications</a:t>
            </a:r>
          </a:p>
          <a:p>
            <a:r>
              <a:rPr lang="en-GB" dirty="0"/>
              <a:t>Home Injury: Some figures</a:t>
            </a:r>
          </a:p>
          <a:p>
            <a:r>
              <a:rPr lang="en-GB" dirty="0"/>
              <a:t>Priorities for improvement?</a:t>
            </a:r>
          </a:p>
          <a:p>
            <a:endParaRPr lang="en-GB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453B69C-DFA8-A132-88E6-14FDD935058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126019" y="1266825"/>
            <a:ext cx="4021352" cy="3891030"/>
          </a:xfrm>
        </p:spPr>
      </p:pic>
    </p:spTree>
    <p:extLst>
      <p:ext uri="{BB962C8B-B14F-4D97-AF65-F5344CB8AC3E}">
        <p14:creationId xmlns:p14="http://schemas.microsoft.com/office/powerpoint/2010/main" val="1471199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2383F-BB4E-3FEF-9793-6828CD1544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injury surveillance and why is it importan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1757EA-ED14-C762-4326-F1B1E30C23F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dirty="0"/>
              <a:t>Injury the major cause of death in people under 35y in Scotland</a:t>
            </a:r>
          </a:p>
          <a:p>
            <a:endParaRPr lang="en-GB" dirty="0"/>
          </a:p>
          <a:p>
            <a:r>
              <a:rPr lang="en-GB" dirty="0"/>
              <a:t>Injury the major cause of  years of life lost under 75y in Scotland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If you cannot measure it you cannot manage it well!</a:t>
            </a: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3AC780A-0D8E-87ED-864C-9270445F76B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743700" y="1519284"/>
            <a:ext cx="4836790" cy="3457587"/>
          </a:xfrm>
        </p:spPr>
      </p:pic>
    </p:spTree>
    <p:extLst>
      <p:ext uri="{BB962C8B-B14F-4D97-AF65-F5344CB8AC3E}">
        <p14:creationId xmlns:p14="http://schemas.microsoft.com/office/powerpoint/2010/main" val="41588827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6A7F64-73A6-3448-6926-C5E4F7A7D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clinical coding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62393-8C9E-7E2B-6663-AD214612E1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8"/>
            <a:ext cx="8314189" cy="4009567"/>
          </a:xfrm>
        </p:spPr>
        <p:txBody>
          <a:bodyPr>
            <a:normAutofit/>
          </a:bodyPr>
          <a:lstStyle/>
          <a:p>
            <a:r>
              <a:rPr lang="en-GB" sz="2800" b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Clinicians use many different terms for the same diagnoses when writing clinical notes. </a:t>
            </a:r>
          </a:p>
          <a:p>
            <a:endParaRPr lang="en-GB" sz="2800" b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en-GB" sz="2800" b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When identifying how many patients have a particular condition, text recorded in notes presents difficulties when trying to count and compare diagnoses. </a:t>
            </a:r>
          </a:p>
          <a:p>
            <a:pPr marL="0" indent="0">
              <a:buNone/>
            </a:pPr>
            <a:endParaRPr lang="en-GB" sz="2800" b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en-GB" sz="2800" b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Instead, consistent codes are applied for the same condition, making analysis easier.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7081B5-F80A-9FFA-304A-C28F171B0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159068" y="1825628"/>
            <a:ext cx="1194732" cy="4009567"/>
          </a:xfrm>
        </p:spPr>
        <p:txBody>
          <a:bodyPr>
            <a:norm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60465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CC284-A0A3-0042-9355-743EEFF9BC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Coded Data Used For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FD7273-B41B-3417-8450-EF1198CAE7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8"/>
            <a:ext cx="5886451" cy="4009567"/>
          </a:xfrm>
        </p:spPr>
        <p:txBody>
          <a:bodyPr/>
          <a:lstStyle/>
          <a:p>
            <a:r>
              <a:rPr lang="en-GB" sz="2800" dirty="0"/>
              <a:t>Helps maintain clinical standards</a:t>
            </a:r>
          </a:p>
          <a:p>
            <a:pPr marL="0" indent="0">
              <a:buNone/>
            </a:pPr>
            <a:endParaRPr lang="en-GB" sz="2800" dirty="0"/>
          </a:p>
          <a:p>
            <a:r>
              <a:rPr lang="en-GB" sz="2800" dirty="0"/>
              <a:t>Helps with financial control</a:t>
            </a:r>
          </a:p>
          <a:p>
            <a:pPr marL="0" indent="0">
              <a:buNone/>
            </a:pPr>
            <a:endParaRPr lang="en-GB" sz="2800" dirty="0"/>
          </a:p>
          <a:p>
            <a:r>
              <a:rPr lang="en-GB" sz="2800" dirty="0"/>
              <a:t>Helps with injury surveillance to help prevent problems</a:t>
            </a:r>
          </a:p>
          <a:p>
            <a:endParaRPr lang="en-GB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5D28DA3-2AF0-5FAC-7BB1-778152773B9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7017088" y="1019175"/>
            <a:ext cx="4486960" cy="4091053"/>
          </a:xfrm>
        </p:spPr>
      </p:pic>
    </p:spTree>
    <p:extLst>
      <p:ext uri="{BB962C8B-B14F-4D97-AF65-F5344CB8AC3E}">
        <p14:creationId xmlns:p14="http://schemas.microsoft.com/office/powerpoint/2010/main" val="494728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8FCE4A-5C17-E01A-638C-191FA5A2A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8"/>
            <a:ext cx="10734675" cy="1325563"/>
          </a:xfrm>
        </p:spPr>
        <p:txBody>
          <a:bodyPr>
            <a:normAutofit fontScale="90000"/>
          </a:bodyPr>
          <a:lstStyle/>
          <a:p>
            <a:r>
              <a:rPr lang="en-GB" dirty="0"/>
              <a:t>Available Health datasets PHS managed that contain injury data</a:t>
            </a:r>
            <a:br>
              <a:rPr lang="en-GB" dirty="0"/>
            </a:b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2071DA-3381-0BAF-235D-827391622D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2481" y="1304925"/>
            <a:ext cx="10255819" cy="4743449"/>
          </a:xfrm>
        </p:spPr>
        <p:txBody>
          <a:bodyPr>
            <a:normAutofit lnSpcReduction="10000"/>
          </a:bodyPr>
          <a:lstStyle/>
          <a:p>
            <a:r>
              <a:rPr lang="en-GB" dirty="0"/>
              <a:t>NHS Hospitals </a:t>
            </a:r>
          </a:p>
          <a:p>
            <a:pPr lvl="1"/>
            <a:r>
              <a:rPr lang="en-GB" dirty="0"/>
              <a:t>Admissions</a:t>
            </a:r>
          </a:p>
          <a:p>
            <a:pPr lvl="1"/>
            <a:r>
              <a:rPr lang="en-GB" dirty="0"/>
              <a:t>Accident and Emergency Attendances</a:t>
            </a:r>
          </a:p>
          <a:p>
            <a:pPr marL="342900" lvl="1" indent="0">
              <a:buNone/>
            </a:pPr>
            <a:r>
              <a:rPr lang="en-GB" dirty="0"/>
              <a:t> </a:t>
            </a:r>
          </a:p>
          <a:p>
            <a:r>
              <a:rPr lang="en-GB" dirty="0"/>
              <a:t>Primary Care </a:t>
            </a:r>
          </a:p>
          <a:p>
            <a:pPr lvl="1"/>
            <a:r>
              <a:rPr lang="en-GB" dirty="0"/>
              <a:t>In-hours Services</a:t>
            </a:r>
          </a:p>
          <a:p>
            <a:pPr lvl="1"/>
            <a:r>
              <a:rPr lang="en-GB" dirty="0"/>
              <a:t>Out of Hours Services</a:t>
            </a:r>
          </a:p>
          <a:p>
            <a:pPr marL="342900" lvl="1" indent="0">
              <a:buNone/>
            </a:pPr>
            <a:endParaRPr lang="en-GB" dirty="0"/>
          </a:p>
          <a:p>
            <a:r>
              <a:rPr lang="en-GB" dirty="0"/>
              <a:t>Pharmacy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Scottish Ambulance Service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NHS 24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1B69BF-1EC6-425E-2EB8-833878B8D0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 flipH="1">
            <a:off x="11353799" y="1825628"/>
            <a:ext cx="45719" cy="4009567"/>
          </a:xfrm>
        </p:spPr>
        <p:txBody>
          <a:bodyPr>
            <a:normAutofit lnSpcReduction="10000"/>
          </a:bodyPr>
          <a:lstStyle/>
          <a:p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D8F268-2FA9-78AF-FF3B-02BBBDE045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2244" y="1709741"/>
            <a:ext cx="4610515" cy="2757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3326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0FF26-65EB-F266-FB95-D3151BEA4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spital Admissions</a:t>
            </a:r>
            <a:br>
              <a:rPr lang="en-GB" dirty="0"/>
            </a:b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72DECD-6B9A-3FF9-2D4D-2DAD5C47A4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285876"/>
            <a:ext cx="8934451" cy="4549320"/>
          </a:xfrm>
        </p:spPr>
        <p:txBody>
          <a:bodyPr>
            <a:normAutofit/>
          </a:bodyPr>
          <a:lstStyle/>
          <a:p>
            <a:r>
              <a:rPr lang="en-GB" dirty="0"/>
              <a:t>Scotland invest in clinical coders who code hospital admissions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Coders use World Health Organisation (WHO) International Classification of Diseases  codes (ICD 10) for diagnoses,  external causes, intent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Coders use Office of Population, Censuses and Surveys (OPCS 4) codes for operations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Coding of data is good and can be used for National Statistics</a:t>
            </a:r>
          </a:p>
          <a:p>
            <a:endParaRPr lang="en-GB" dirty="0"/>
          </a:p>
          <a:p>
            <a:endParaRPr lang="en-GB" b="1" u="sng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9BC481-1E97-FA70-1615-9729BD4618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306050" y="1825628"/>
            <a:ext cx="1047750" cy="4009567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14394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A"/>
  <p:tag name="EE4P_MAPWIZARD_HEADINGS" val="Admin 1"/>
  <p:tag name="EE4P_MAPWIZARD" val="East Ayrshir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L"/>
  <p:tag name="EE4P_MAPWIZARD_HEADINGS" val="Admin 1"/>
  <p:tag name="EE4P_MAPWIZARD" val="South Lanarkshir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D"/>
  <p:tag name="EE4P_MAPWIZARD_HEADINGS" val="Admin 1"/>
  <p:tag name="EE4P_MAPWIZARD" val="West Dunbartonshir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1"/>
  <p:tag name="EE4P_MAPWIZARD" val="Aberdee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S"/>
  <p:tag name="EE4P_MAPWIZARD_HEADINGS" val="Admin 1"/>
  <p:tag name="EE4P_MAPWIZARD" val="Aberdeenshir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O"/>
  <p:tag name="EE4P_MAPWIZARD_HEADINGS" val="Admin 1"/>
  <p:tag name="EE4P_MAPWIZARD" val="Moray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K"/>
  <p:tag name="EE4P_MAPWIZARD_HEADINGS" val="Admin 1"/>
  <p:tag name="EE4P_MAPWIZARD" val="Falkirk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G"/>
  <p:tag name="EE4P_MAPWIZARD_HEADINGS" val="Admin 1"/>
  <p:tag name="EE4P_MAPWIZARD" val="Stirl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C"/>
  <p:tag name="EE4P_MAPWIZARD_HEADINGS" val="Admin 1"/>
  <p:tag name="EE4P_MAPWIZARD" val="Clackmannanshir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2"/>
  <p:tag name="EE4P_MAPWIZARD_HEADINGS" val="Admin 1"/>
  <p:tag name="EE4P_MAPWIZARD" val="Perthshire and Kinros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G"/>
  <p:tag name="EE4P_MAPWIZARD_HEADINGS" val="Admin 1"/>
  <p:tag name="EE4P_MAPWIZARD" val="Angu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D"/>
  <p:tag name="EE4P_MAPWIZARD_HEADINGS" val="Admin 1"/>
  <p:tag name="EE4P_MAPWIZARD" val="East Dunbartonshir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U"/>
  <p:tag name="EE4P_MAPWIZARD_HEADINGS" val="Admin 1"/>
  <p:tag name="EE4P_MAPWIZARD" val="Dunde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1"/>
  <p:tag name="EE4P_MAPWIZARD" val="Fif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L"/>
  <p:tag name="EE4P_MAPWIZARD_HEADINGS" val="Admin 1"/>
  <p:tag name="EE4P_MAPWIZARD" val="East Lothia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B"/>
  <p:tag name="EE4P_MAPWIZARD_HEADINGS" val="Admin 1"/>
  <p:tag name="EE4P_MAPWIZARD" val="Edinburgh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L"/>
  <p:tag name="EE4P_MAPWIZARD_HEADINGS" val="Admin 1"/>
  <p:tag name="EE4P_MAPWIZARD" val="Midlothia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H"/>
  <p:tag name="EE4P_MAPWIZARD_HEADINGS" val="Admin 1"/>
  <p:tag name="EE4P_MAPWIZARD" val="West Lothia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O"/>
  <p:tag name="EE4P_MAPWIZARD_HEADINGS" val="Admin 1"/>
  <p:tag name="EE4P_MAPWIZARD" val="Scottish Border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G"/>
  <p:tag name="EE4P_MAPWIZARD_HEADINGS" val="Admin 1"/>
  <p:tag name="EE4P_MAPWIZARD" val="Dumfries and Galloway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O"/>
  <p:tag name="EE4P_MAPWIZARD_HEADINGS" val="Admin 1"/>
  <p:tag name="EE4P_MAPWIZARD" val="Orkney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I"/>
  <p:tag name="EE4P_MAPWIZARD_HEADINGS" val="Admin 1"/>
  <p:tag name="EE4P_MAPWIZARD" val="Highlan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R"/>
  <p:tag name="EE4P_MAPWIZARD_HEADINGS" val="Admin 1"/>
  <p:tag name="EE4P_MAPWIZARD" val="East Renfrewshi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B"/>
  <p:tag name="EE4P_MAPWIZARD_HEADINGS" val="Admin 1"/>
  <p:tag name="EE4P_MAPWIZARD" val="Argyll and Bu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1"/>
  <p:tag name="EE4P_MAPWIZARD" val="Shetland Island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I"/>
  <p:tag name="EE4P_MAPWIZARD_HEADINGS" val="Admin 1"/>
  <p:tag name="EE4P_MAPWIZARD" val="Eilean Sia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G"/>
  <p:tag name="EE4P_MAPWIZARD_HEADINGS" val="Admin 1"/>
  <p:tag name="EE4P_MAPWIZARD" val="Glasg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C"/>
  <p:tag name="EE4P_MAPWIZARD_HEADINGS" val="Admin 1"/>
  <p:tag name="EE4P_MAPWIZARD" val="Inverclyd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D"/>
  <p:tag name="EE4P_MAPWIZARD_HEADINGS" val="Admin 1"/>
  <p:tag name="EE4P_MAPWIZARD" val="North Ayshi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N"/>
  <p:tag name="EE4P_MAPWIZARD_HEADINGS" val="Admin 1"/>
  <p:tag name="EE4P_MAPWIZARD" val="North Lanarkshi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F"/>
  <p:tag name="EE4P_MAPWIZARD_HEADINGS" val="Admin 1"/>
  <p:tag name="EE4P_MAPWIZARD" val="Renfrewshi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A"/>
  <p:tag name="EE4P_MAPWIZARD_HEADINGS" val="Admin 1"/>
  <p:tag name="EE4P_MAPWIZARD" val="South Ayrshir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5EC69B5B-B277-49AA-A537-545CFD527E91}" vid="{F9FA7CD5-6F73-463D-9483-B95542C119A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Violet">
    <a:dk1>
      <a:sysClr val="windowText" lastClr="000000"/>
    </a:dk1>
    <a:lt1>
      <a:sysClr val="window" lastClr="FFFFFF"/>
    </a:lt1>
    <a:dk2>
      <a:srgbClr val="373545"/>
    </a:dk2>
    <a:lt2>
      <a:srgbClr val="DCD8DC"/>
    </a:lt2>
    <a:accent1>
      <a:srgbClr val="AD84C6"/>
    </a:accent1>
    <a:accent2>
      <a:srgbClr val="8784C7"/>
    </a:accent2>
    <a:accent3>
      <a:srgbClr val="5D739A"/>
    </a:accent3>
    <a:accent4>
      <a:srgbClr val="6997AF"/>
    </a:accent4>
    <a:accent5>
      <a:srgbClr val="84ACB6"/>
    </a:accent5>
    <a:accent6>
      <a:srgbClr val="6F8183"/>
    </a:accent6>
    <a:hlink>
      <a:srgbClr val="69A020"/>
    </a:hlink>
    <a:folHlink>
      <a:srgbClr val="8C8C8C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Violet II">
    <a:dk1>
      <a:sysClr val="windowText" lastClr="000000"/>
    </a:dk1>
    <a:lt1>
      <a:sysClr val="window" lastClr="FFFFFF"/>
    </a:lt1>
    <a:dk2>
      <a:srgbClr val="632E62"/>
    </a:dk2>
    <a:lt2>
      <a:srgbClr val="EAE5EB"/>
    </a:lt2>
    <a:accent1>
      <a:srgbClr val="92278F"/>
    </a:accent1>
    <a:accent2>
      <a:srgbClr val="9B57D3"/>
    </a:accent2>
    <a:accent3>
      <a:srgbClr val="755DD9"/>
    </a:accent3>
    <a:accent4>
      <a:srgbClr val="665EB8"/>
    </a:accent4>
    <a:accent5>
      <a:srgbClr val="45A5ED"/>
    </a:accent5>
    <a:accent6>
      <a:srgbClr val="5982DB"/>
    </a:accent6>
    <a:hlink>
      <a:srgbClr val="0066FF"/>
    </a:hlink>
    <a:folHlink>
      <a:srgbClr val="666699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Violet II">
    <a:dk1>
      <a:sysClr val="windowText" lastClr="000000"/>
    </a:dk1>
    <a:lt1>
      <a:sysClr val="window" lastClr="FFFFFF"/>
    </a:lt1>
    <a:dk2>
      <a:srgbClr val="632E62"/>
    </a:dk2>
    <a:lt2>
      <a:srgbClr val="EAE5EB"/>
    </a:lt2>
    <a:accent1>
      <a:srgbClr val="92278F"/>
    </a:accent1>
    <a:accent2>
      <a:srgbClr val="9B57D3"/>
    </a:accent2>
    <a:accent3>
      <a:srgbClr val="755DD9"/>
    </a:accent3>
    <a:accent4>
      <a:srgbClr val="665EB8"/>
    </a:accent4>
    <a:accent5>
      <a:srgbClr val="45A5ED"/>
    </a:accent5>
    <a:accent6>
      <a:srgbClr val="5982DB"/>
    </a:accent6>
    <a:hlink>
      <a:srgbClr val="0066FF"/>
    </a:hlink>
    <a:folHlink>
      <a:srgbClr val="666699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Violet II">
    <a:dk1>
      <a:sysClr val="windowText" lastClr="000000"/>
    </a:dk1>
    <a:lt1>
      <a:sysClr val="window" lastClr="FFFFFF"/>
    </a:lt1>
    <a:dk2>
      <a:srgbClr val="632E62"/>
    </a:dk2>
    <a:lt2>
      <a:srgbClr val="EAE5EB"/>
    </a:lt2>
    <a:accent1>
      <a:srgbClr val="92278F"/>
    </a:accent1>
    <a:accent2>
      <a:srgbClr val="9B57D3"/>
    </a:accent2>
    <a:accent3>
      <a:srgbClr val="755DD9"/>
    </a:accent3>
    <a:accent4>
      <a:srgbClr val="665EB8"/>
    </a:accent4>
    <a:accent5>
      <a:srgbClr val="45A5ED"/>
    </a:accent5>
    <a:accent6>
      <a:srgbClr val="5982DB"/>
    </a:accent6>
    <a:hlink>
      <a:srgbClr val="0066FF"/>
    </a:hlink>
    <a:folHlink>
      <a:srgbClr val="666699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Violet II">
    <a:dk1>
      <a:sysClr val="windowText" lastClr="000000"/>
    </a:dk1>
    <a:lt1>
      <a:sysClr val="window" lastClr="FFFFFF"/>
    </a:lt1>
    <a:dk2>
      <a:srgbClr val="632E62"/>
    </a:dk2>
    <a:lt2>
      <a:srgbClr val="EAE5EB"/>
    </a:lt2>
    <a:accent1>
      <a:srgbClr val="92278F"/>
    </a:accent1>
    <a:accent2>
      <a:srgbClr val="9B57D3"/>
    </a:accent2>
    <a:accent3>
      <a:srgbClr val="755DD9"/>
    </a:accent3>
    <a:accent4>
      <a:srgbClr val="665EB8"/>
    </a:accent4>
    <a:accent5>
      <a:srgbClr val="45A5ED"/>
    </a:accent5>
    <a:accent6>
      <a:srgbClr val="5982DB"/>
    </a:accent6>
    <a:hlink>
      <a:srgbClr val="0066FF"/>
    </a:hlink>
    <a:folHlink>
      <a:srgbClr val="666699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9E360D75DDE845BD31B7204E9B8E6D" ma:contentTypeVersion="0" ma:contentTypeDescription="Create a new document." ma:contentTypeScope="" ma:versionID="659fdf77c7da3dae286546a3338ab11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7be2570776fbcaa7c7a71900390d2141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F1E5AA6-C6AF-4367-93A3-EFA43BF197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C73297F-598B-4DCB-BCE9-E508A25225E1}">
  <ds:schemaRefs>
    <ds:schemaRef ds:uri="http://purl.org/dc/elements/1.1/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D6B120D-A0FB-4DD8-992E-3D48283A8AF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HS ppt MASTER template</Template>
  <TotalTime>1295</TotalTime>
  <Words>1092</Words>
  <Application>Microsoft Office PowerPoint</Application>
  <PresentationFormat>Widescreen</PresentationFormat>
  <Paragraphs>166</Paragraphs>
  <Slides>2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Arial</vt:lpstr>
      <vt:lpstr>Arial Black</vt:lpstr>
      <vt:lpstr>Calibri</vt:lpstr>
      <vt:lpstr>Custom Design</vt:lpstr>
      <vt:lpstr>Worksheet</vt:lpstr>
      <vt:lpstr> Injury Surveillance in Scotland:  Health Service Contribution </vt:lpstr>
      <vt:lpstr>Our purpose </vt:lpstr>
      <vt:lpstr> Long-term investment in prevention: every sector has a role</vt:lpstr>
      <vt:lpstr>Outline of Talk</vt:lpstr>
      <vt:lpstr>What is injury surveillance and why is it important?</vt:lpstr>
      <vt:lpstr>What is clinical coding?</vt:lpstr>
      <vt:lpstr>What is Coded Data Used For?</vt:lpstr>
      <vt:lpstr>Available Health datasets PHS managed that contain injury data </vt:lpstr>
      <vt:lpstr>Hospital Admissions </vt:lpstr>
      <vt:lpstr>Hospital Admissions in Scotland 2021-22 and 2022-23</vt:lpstr>
      <vt:lpstr> PHS Annual Unintentional Injuries Report 2022-23,  events and external causes of injury, Scotland</vt:lpstr>
      <vt:lpstr>Location of hospital admissions for injury caused by a fall (N=36050), Scotland 2022/23, all sexes</vt:lpstr>
      <vt:lpstr>Hospital admissions for an injury occurring in the home children 0-4years, 2010-11 to 2022-23 (numbers)</vt:lpstr>
      <vt:lpstr>Hospital admissions for an injury occurring in the home, older adults 75y and over, (numbers)</vt:lpstr>
      <vt:lpstr>Hospital admissions for an injury occurring in the home, main diagnoses, 2022/23 (numbers)</vt:lpstr>
      <vt:lpstr>Hospital admissions for injury from dog bite or strike (W54),  occurring in the home, 2013/2014 to 2022/23 (numbers)</vt:lpstr>
      <vt:lpstr>NHS hospital admissions for all unintentional injuries by deprivation quintile, 2022/23 (standardised discharge ratio)</vt:lpstr>
      <vt:lpstr>What is theoretically possible given the quality and depth of data held. </vt:lpstr>
      <vt:lpstr>Annual Unintentional injuries reports –  analysis of hospital admissions, and deaths</vt:lpstr>
      <vt:lpstr>PowerPoint Presentation</vt:lpstr>
      <vt:lpstr>Accident and Emergency (A&amp;E) data issues &amp; opportunities</vt:lpstr>
      <vt:lpstr>Priorities for improved surveillance </vt:lpstr>
      <vt:lpstr>Thank you!</vt:lpstr>
      <vt:lpstr>Appendix 1 – Injury type codes  for hospital admiss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ntentional Injuries Publication</dc:title>
  <dc:creator>John Connor</dc:creator>
  <cp:lastModifiedBy>Stephen Bridgman</cp:lastModifiedBy>
  <cp:revision>16</cp:revision>
  <cp:lastPrinted>2024-02-06T14:54:11Z</cp:lastPrinted>
  <dcterms:created xsi:type="dcterms:W3CDTF">2023-06-01T09:17:52Z</dcterms:created>
  <dcterms:modified xsi:type="dcterms:W3CDTF">2024-02-06T15:1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9E360D75DDE845BD31B7204E9B8E6D</vt:lpwstr>
  </property>
</Properties>
</file>